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839" r:id="rId1"/>
  </p:sldMasterIdLst>
  <p:notesMasterIdLst>
    <p:notesMasterId r:id="rId15"/>
  </p:notesMasterIdLst>
  <p:handoutMasterIdLst>
    <p:handoutMasterId r:id="rId16"/>
  </p:handoutMasterIdLst>
  <p:sldIdLst>
    <p:sldId id="660" r:id="rId2"/>
    <p:sldId id="725" r:id="rId3"/>
    <p:sldId id="726" r:id="rId4"/>
    <p:sldId id="723" r:id="rId5"/>
    <p:sldId id="674" r:id="rId6"/>
    <p:sldId id="720" r:id="rId7"/>
    <p:sldId id="721" r:id="rId8"/>
    <p:sldId id="722" r:id="rId9"/>
    <p:sldId id="700" r:id="rId10"/>
    <p:sldId id="701" r:id="rId11"/>
    <p:sldId id="708" r:id="rId12"/>
    <p:sldId id="709" r:id="rId13"/>
    <p:sldId id="676" r:id="rId14"/>
  </p:sldIdLst>
  <p:sldSz cx="9144000" cy="6858000" type="screen4x3"/>
  <p:notesSz cx="7102475" cy="10234613"/>
  <p:custDataLst>
    <p:tags r:id="rId17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orient="horz">
          <p15:clr>
            <a:srgbClr val="A4A3A4"/>
          </p15:clr>
        </p15:guide>
        <p15:guide id="3" orient="horz" pos="4133" userDrawn="1">
          <p15:clr>
            <a:srgbClr val="A4A3A4"/>
          </p15:clr>
        </p15:guide>
        <p15:guide id="4" orient="horz" pos="1117" userDrawn="1">
          <p15:clr>
            <a:srgbClr val="A4A3A4"/>
          </p15:clr>
        </p15:guide>
        <p15:guide id="5" orient="horz" pos="3952" userDrawn="1">
          <p15:clr>
            <a:srgbClr val="A4A3A4"/>
          </p15:clr>
        </p15:guide>
        <p15:guide id="6" orient="horz" pos="799" userDrawn="1">
          <p15:clr>
            <a:srgbClr val="A4A3A4"/>
          </p15:clr>
        </p15:guide>
        <p15:guide id="7" orient="horz" pos="232" userDrawn="1">
          <p15:clr>
            <a:srgbClr val="A4A3A4"/>
          </p15:clr>
        </p15:guide>
        <p15:guide id="8" orient="horz" pos="4320" userDrawn="1">
          <p15:clr>
            <a:srgbClr val="A4A3A4"/>
          </p15:clr>
        </p15:guide>
        <p15:guide id="9" orient="horz" pos="595" userDrawn="1">
          <p15:clr>
            <a:srgbClr val="A4A3A4"/>
          </p15:clr>
        </p15:guide>
        <p15:guide id="10" orient="horz" pos="323" userDrawn="1">
          <p15:clr>
            <a:srgbClr val="A4A3A4"/>
          </p15:clr>
        </p15:guide>
        <p15:guide id="11" orient="horz" pos="4065" userDrawn="1">
          <p15:clr>
            <a:srgbClr val="A4A3A4"/>
          </p15:clr>
        </p15:guide>
        <p15:guide id="12" orient="horz" pos="459" userDrawn="1">
          <p15:clr>
            <a:srgbClr val="A4A3A4"/>
          </p15:clr>
        </p15:guide>
        <p15:guide id="13" orient="horz" pos="87">
          <p15:clr>
            <a:srgbClr val="A4A3A4"/>
          </p15:clr>
        </p15:guide>
        <p15:guide id="14" orient="horz" pos="3566" userDrawn="1">
          <p15:clr>
            <a:srgbClr val="A4A3A4"/>
          </p15:clr>
        </p15:guide>
        <p15:guide id="15" orient="horz" pos="2273" userDrawn="1">
          <p15:clr>
            <a:srgbClr val="A4A3A4"/>
          </p15:clr>
        </p15:guide>
        <p15:guide id="16" orient="horz" pos="3294" userDrawn="1">
          <p15:clr>
            <a:srgbClr val="A4A3A4"/>
          </p15:clr>
        </p15:guide>
        <p15:guide id="17" orient="horz" pos="791">
          <p15:clr>
            <a:srgbClr val="A4A3A4"/>
          </p15:clr>
        </p15:guide>
        <p15:guide id="18" pos="2903" userDrawn="1">
          <p15:clr>
            <a:srgbClr val="A4A3A4"/>
          </p15:clr>
        </p15:guide>
        <p15:guide id="19" pos="1088" userDrawn="1">
          <p15:clr>
            <a:srgbClr val="A4A3A4"/>
          </p15:clr>
        </p15:guide>
        <p15:guide id="20" pos="2789" userDrawn="1">
          <p15:clr>
            <a:srgbClr val="A4A3A4"/>
          </p15:clr>
        </p15:guide>
        <p15:guide id="21" pos="3016" userDrawn="1">
          <p15:clr>
            <a:srgbClr val="A4A3A4"/>
          </p15:clr>
        </p15:guide>
        <p15:guide id="22" pos="5534" userDrawn="1">
          <p15:clr>
            <a:srgbClr val="A4A3A4"/>
          </p15:clr>
        </p15:guide>
        <p15:guide id="23" pos="272" userDrawn="1">
          <p15:clr>
            <a:srgbClr val="A4A3A4"/>
          </p15:clr>
        </p15:guide>
        <p15:guide id="24" pos="5193" userDrawn="1">
          <p15:clr>
            <a:srgbClr val="A4A3A4"/>
          </p15:clr>
        </p15:guide>
        <p15:guide id="25" pos="567" userDrawn="1">
          <p15:clr>
            <a:srgbClr val="A4A3A4"/>
          </p15:clr>
        </p15:guide>
        <p15:guide id="26" orient="horz" pos="33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767"/>
    <a:srgbClr val="E7E8E8"/>
    <a:srgbClr val="FFFFFF"/>
    <a:srgbClr val="5A82B4"/>
    <a:srgbClr val="F69300"/>
    <a:srgbClr val="000000"/>
    <a:srgbClr val="696969"/>
    <a:srgbClr val="1F497D"/>
    <a:srgbClr val="B3A2C7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B24ACFD-0C66-4437-BACD-995E74B78E43}">
  <a:tblStyle styleId="{2B24ACFD-0C66-4437-BACD-995E74B78E43}" styleName="Prognos 1">
    <a:tblBg>
      <a:fill>
        <a:solidFill>
          <a:schemeClr val="tx2"/>
        </a:solidFill>
      </a:fill>
    </a:tblBg>
    <a:wholeTbl>
      <a:tcTxStyle b="off">
        <a:srgbClr val="696969"/>
      </a:tcTxStyle>
      <a:tcStyle>
        <a:tcBdr>
          <a:left>
            <a:lnRef idx="1">
              <a:schemeClr val="bg1"/>
            </a:lnRef>
          </a:left>
          <a:right>
            <a:lnRef idx="1">
              <a:schemeClr val="bg1"/>
            </a:lnRef>
          </a:right>
          <a:top>
            <a:lnRef idx="1">
              <a:schemeClr val="bg1"/>
            </a:lnRef>
          </a:top>
          <a:bottom>
            <a:lnRef idx="1">
              <a:schemeClr val="bg1"/>
            </a:lnRef>
          </a:bottom>
          <a:insideH>
            <a:lnRef idx="1">
              <a:schemeClr val="bg1"/>
            </a:lnRef>
          </a:insideH>
          <a:insideV>
            <a:lnRef idx="1">
              <a:schemeClr val="bg1"/>
            </a:lnRef>
          </a:insideV>
        </a:tcBdr>
        <a:fill>
          <a:solidFill>
            <a:schemeClr val="tx2"/>
          </a:solidFill>
        </a:fill>
      </a:tcStyle>
    </a:wholeTbl>
    <a:band1H>
      <a:tcStyle>
        <a:tcBdr/>
        <a:fill>
          <a:solidFill>
            <a:schemeClr val="tx2"/>
          </a:solidFill>
        </a:fill>
      </a:tcStyle>
    </a:band1H>
    <a:band2H>
      <a:tcStyle>
        <a:tcBdr/>
        <a:fill>
          <a:solidFill>
            <a:srgbClr val="F8F8F8"/>
          </a:solidFill>
        </a:fill>
      </a:tcStyle>
    </a:band2H>
    <a:lastRow>
      <a:tcTxStyle b="on">
        <a:schemeClr val="bg1"/>
      </a:tcTxStyle>
      <a:tcStyle>
        <a:tcBdr/>
        <a:fill>
          <a:gradFill>
            <a:gsLst>
              <a:gs pos="0">
                <a:srgbClr val="696969"/>
              </a:gs>
              <a:gs pos="53000">
                <a:srgbClr val="3F3F3F"/>
              </a:gs>
            </a:gsLst>
            <a:lin ang="5400000" scaled="0"/>
          </a:gradFill>
        </a:fill>
      </a:tcStyle>
    </a:lastRow>
    <a:firstRow>
      <a:tcTxStyle b="on">
        <a:schemeClr val="bg1"/>
      </a:tcTxStyle>
      <a:tcStyle>
        <a:tcBdr/>
        <a:fill>
          <a:gradFill>
            <a:gsLst>
              <a:gs pos="0">
                <a:schemeClr val="accent2"/>
              </a:gs>
              <a:gs pos="53000">
                <a:schemeClr val="accent2">
                  <a:lumMod val="75000"/>
                </a:schemeClr>
              </a:gs>
            </a:gsLst>
            <a:lin ang="5400000" scaled="0"/>
          </a:gradFill>
        </a:fill>
      </a:tcStyle>
    </a:firstRow>
  </a:tblStyle>
  <a:tblStyle styleId="{20795066-7E7C-4DE7-B1B8-4DBAE2B2DC15}" styleName="Prognos 2">
    <a:tblBg>
      <a:fill>
        <a:solidFill>
          <a:schemeClr val="tx2"/>
        </a:solidFill>
      </a:fill>
    </a:tblBg>
    <a:wholeTbl>
      <a:tcTxStyle b="off">
        <a:srgbClr val="696969"/>
      </a:tcTxStyle>
      <a:tcStyle>
        <a:tcBdr>
          <a:left>
            <a:lnRef idx="1">
              <a:schemeClr val="bg1"/>
            </a:lnRef>
          </a:left>
          <a:right>
            <a:lnRef idx="1">
              <a:schemeClr val="bg1"/>
            </a:lnRef>
          </a:right>
          <a:top>
            <a:lnRef idx="1">
              <a:schemeClr val="bg1"/>
            </a:lnRef>
          </a:top>
          <a:bottom>
            <a:lnRef idx="1">
              <a:schemeClr val="bg1"/>
            </a:lnRef>
          </a:bottom>
          <a:insideH>
            <a:lnRef idx="1">
              <a:schemeClr val="bg1"/>
            </a:lnRef>
          </a:insideH>
          <a:insideV>
            <a:lnRef idx="1">
              <a:schemeClr val="bg1"/>
            </a:lnRef>
          </a:insideV>
        </a:tcBdr>
        <a:fill>
          <a:solidFill>
            <a:schemeClr val="tx2"/>
          </a:solidFill>
        </a:fill>
      </a:tcStyle>
    </a:wholeTbl>
    <a:band1H>
      <a:tcStyle>
        <a:tcBdr/>
        <a:fill>
          <a:solidFill>
            <a:schemeClr val="tx2"/>
          </a:solidFill>
        </a:fill>
      </a:tcStyle>
    </a:band1H>
    <a:band2H>
      <a:tcStyle>
        <a:tcBdr/>
        <a:fill>
          <a:solidFill>
            <a:srgbClr val="F8F8F8"/>
          </a:solidFill>
        </a:fill>
      </a:tcStyle>
    </a:band2H>
    <a:lastRow>
      <a:tcTxStyle b="on">
        <a:schemeClr val="bg1"/>
      </a:tcTxStyle>
      <a:tcStyle>
        <a:tcBdr/>
        <a:fill>
          <a:gradFill>
            <a:gsLst>
              <a:gs pos="0">
                <a:srgbClr val="696969"/>
              </a:gs>
              <a:gs pos="53000">
                <a:srgbClr val="3F3F3F"/>
              </a:gs>
            </a:gsLst>
            <a:lin ang="5400000" scaled="0"/>
          </a:gradFill>
        </a:fill>
      </a:tcStyle>
    </a:lastRow>
    <a:firstRow>
      <a:tcTxStyle b="on">
        <a:schemeClr val="bg1"/>
      </a:tcTxStyle>
      <a:tcStyle>
        <a:tcBdr/>
        <a:fill>
          <a:gradFill>
            <a:gsLst>
              <a:gs pos="0">
                <a:schemeClr val="bg2"/>
              </a:gs>
              <a:gs pos="53000">
                <a:srgbClr val="696969"/>
              </a:gs>
            </a:gsLst>
            <a:lin ang="5400000" scaled="0"/>
          </a:gradFill>
        </a:fill>
      </a:tcStyle>
    </a:firstRow>
  </a:tblStyle>
  <a:tblStyle styleId="{812B9180-F9BD-45DD-9BEA-91A4458E823C}" styleName="Prognos 3">
    <a:tblBg>
      <a:fill>
        <a:solidFill>
          <a:schemeClr val="tx2"/>
        </a:solidFill>
      </a:fill>
    </a:tblBg>
    <a:wholeTbl>
      <a:tcTxStyle b="off">
        <a:srgbClr val="696969"/>
      </a:tcTxStyle>
      <a:tcStyle>
        <a:tcBdr>
          <a:left>
            <a:lnRef idx="1">
              <a:schemeClr val="bg1"/>
            </a:lnRef>
          </a:left>
          <a:right>
            <a:lnRef idx="1">
              <a:schemeClr val="bg1"/>
            </a:lnRef>
          </a:right>
          <a:top>
            <a:lnRef idx="1">
              <a:schemeClr val="bg1"/>
            </a:lnRef>
          </a:top>
          <a:bottom>
            <a:lnRef idx="1">
              <a:schemeClr val="bg1"/>
            </a:lnRef>
          </a:bottom>
          <a:insideH>
            <a:lnRef idx="1">
              <a:schemeClr val="bg1"/>
            </a:lnRef>
          </a:insideH>
          <a:insideV>
            <a:lnRef idx="1">
              <a:schemeClr val="bg1"/>
            </a:lnRef>
          </a:insideV>
        </a:tcBdr>
        <a:fill>
          <a:solidFill>
            <a:schemeClr val="tx2"/>
          </a:solidFill>
        </a:fill>
      </a:tcStyle>
    </a:wholeTbl>
    <a:band1H>
      <a:tcStyle>
        <a:tcBdr/>
        <a:fill>
          <a:solidFill>
            <a:schemeClr val="tx2"/>
          </a:solidFill>
        </a:fill>
      </a:tcStyle>
    </a:band1H>
    <a:band2H>
      <a:tcStyle>
        <a:tcBdr/>
        <a:fill>
          <a:solidFill>
            <a:srgbClr val="F8F8F8"/>
          </a:solidFill>
        </a:fill>
      </a:tcStyle>
    </a:band2H>
    <a:lastRow>
      <a:tcTxStyle b="on">
        <a:schemeClr val="bg1"/>
      </a:tcTxStyle>
      <a:tcStyle>
        <a:tcBdr/>
        <a:fill>
          <a:gradFill>
            <a:gsLst>
              <a:gs pos="0">
                <a:srgbClr val="696969"/>
              </a:gs>
              <a:gs pos="53000">
                <a:srgbClr val="3F3F3F"/>
              </a:gs>
            </a:gsLst>
            <a:lin ang="5400000" scaled="0"/>
          </a:gradFill>
        </a:fill>
      </a:tcStyle>
    </a:lastRow>
    <a:firstRow>
      <a:tcTxStyle b="on">
        <a:schemeClr val="bg1"/>
      </a:tcTxStyle>
      <a:tcStyle>
        <a:tcBdr/>
        <a:fill>
          <a:gradFill>
            <a:gsLst>
              <a:gs pos="0">
                <a:schemeClr val="accent1"/>
              </a:gs>
              <a:gs pos="53000">
                <a:schemeClr val="accent1">
                  <a:lumMod val="75000"/>
                </a:schemeClr>
              </a:gs>
            </a:gsLst>
            <a:lin ang="5400000" scaled="0"/>
          </a:gra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60" autoAdjust="0"/>
    <p:restoredTop sz="80739" autoAdjust="0"/>
  </p:normalViewPr>
  <p:slideViewPr>
    <p:cSldViewPr snapToGrid="0" snapToObjects="1">
      <p:cViewPr varScale="1">
        <p:scale>
          <a:sx n="74" d="100"/>
          <a:sy n="74" d="100"/>
        </p:scale>
        <p:origin x="1344" y="72"/>
      </p:cViewPr>
      <p:guideLst>
        <p:guide orient="horz" pos="4224"/>
        <p:guide orient="horz"/>
        <p:guide orient="horz" pos="4133"/>
        <p:guide orient="horz" pos="1117"/>
        <p:guide orient="horz" pos="3952"/>
        <p:guide orient="horz" pos="799"/>
        <p:guide orient="horz" pos="232"/>
        <p:guide orient="horz" pos="4320"/>
        <p:guide orient="horz" pos="595"/>
        <p:guide orient="horz" pos="323"/>
        <p:guide orient="horz" pos="4065"/>
        <p:guide orient="horz" pos="459"/>
        <p:guide orient="horz" pos="87"/>
        <p:guide orient="horz" pos="3566"/>
        <p:guide orient="horz" pos="2273"/>
        <p:guide orient="horz" pos="3294"/>
        <p:guide orient="horz" pos="791"/>
        <p:guide pos="2903"/>
        <p:guide pos="1088"/>
        <p:guide pos="2789"/>
        <p:guide pos="3016"/>
        <p:guide pos="5534"/>
        <p:guide pos="272"/>
        <p:guide pos="5193"/>
        <p:guide pos="567"/>
        <p:guide orient="horz" pos="33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4" d="100"/>
          <a:sy n="94" d="100"/>
        </p:scale>
        <p:origin x="-3348" y="-108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Arbeitsblat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-Arbeitsblat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-Arbeitsblat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-Arbeitsblat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37504096327358"/>
          <c:y val="4.7000782597962074E-2"/>
          <c:w val="0.82526741535186821"/>
          <c:h val="0.6736549789375255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Erzeugung!$B$33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663300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33:$F$33</c:f>
              <c:numCache>
                <c:formatCode>#,##0</c:formatCode>
                <c:ptCount val="3"/>
                <c:pt idx="0">
                  <c:v>-0.15049169588692735</c:v>
                </c:pt>
                <c:pt idx="1">
                  <c:v>-18.876431476153982</c:v>
                </c:pt>
                <c:pt idx="2">
                  <c:v>-33.614899123568861</c:v>
                </c:pt>
              </c:numCache>
            </c:numRef>
          </c:val>
        </c:ser>
        <c:ser>
          <c:idx val="0"/>
          <c:order val="1"/>
          <c:tx>
            <c:strRef>
              <c:f>Erzeugung!$B$32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32:$F$32</c:f>
              <c:numCache>
                <c:formatCode>#,##0</c:formatCode>
                <c:ptCount val="3"/>
                <c:pt idx="0">
                  <c:v>-32.033361863960366</c:v>
                </c:pt>
                <c:pt idx="1">
                  <c:v>-76.101892652153325</c:v>
                </c:pt>
                <c:pt idx="2">
                  <c:v>-75.712060286048796</c:v>
                </c:pt>
              </c:numCache>
            </c:numRef>
          </c:val>
        </c:ser>
        <c:ser>
          <c:idx val="2"/>
          <c:order val="2"/>
          <c:tx>
            <c:strRef>
              <c:f>Erzeugung!$B$34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34:$F$34</c:f>
              <c:numCache>
                <c:formatCode>#,##0</c:formatCode>
                <c:ptCount val="3"/>
                <c:pt idx="0">
                  <c:v>-3.7355281342256248</c:v>
                </c:pt>
                <c:pt idx="1">
                  <c:v>-10.110695940696182</c:v>
                </c:pt>
                <c:pt idx="2">
                  <c:v>-19.165029484666597</c:v>
                </c:pt>
              </c:numCache>
            </c:numRef>
          </c:val>
        </c:ser>
        <c:ser>
          <c:idx val="5"/>
          <c:order val="5"/>
          <c:tx>
            <c:strRef>
              <c:f>Erzeugung!$B$37</c:f>
              <c:strCache>
                <c:ptCount val="1"/>
                <c:pt idx="0">
                  <c:v>Speicher</c:v>
                </c:pt>
              </c:strCache>
            </c:strRef>
          </c:tx>
          <c:spPr>
            <a:solidFill>
              <a:srgbClr val="3366CC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37:$F$37</c:f>
              <c:numCache>
                <c:formatCode>#,##0</c:formatCode>
                <c:ptCount val="3"/>
                <c:pt idx="0">
                  <c:v>-4.9397665150012315E-2</c:v>
                </c:pt>
                <c:pt idx="1">
                  <c:v>0.40562357626692069</c:v>
                </c:pt>
                <c:pt idx="2">
                  <c:v>0</c:v>
                </c:pt>
              </c:numCache>
            </c:numRef>
          </c:val>
        </c:ser>
        <c:ser>
          <c:idx val="7"/>
          <c:order val="7"/>
          <c:tx>
            <c:strRef>
              <c:f>Erzeugung!$B$39</c:f>
              <c:strCache>
                <c:ptCount val="1"/>
                <c:pt idx="0">
                  <c:v>Windkraft</c:v>
                </c:pt>
              </c:strCache>
            </c:strRef>
          </c:tx>
          <c:spPr>
            <a:solidFill>
              <a:srgbClr val="82B4D7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39:$F$39</c:f>
              <c:numCache>
                <c:formatCode>#,##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.5398924827985354</c:v>
                </c:pt>
              </c:numCache>
            </c:numRef>
          </c:val>
        </c:ser>
        <c:ser>
          <c:idx val="11"/>
          <c:order val="11"/>
          <c:tx>
            <c:strRef>
              <c:f>Erzeugung!$B$43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008B2C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43:$F$43</c:f>
              <c:numCache>
                <c:formatCode>#,##0</c:formatCode>
                <c:ptCount val="3"/>
                <c:pt idx="0">
                  <c:v>0.32277682715083245</c:v>
                </c:pt>
                <c:pt idx="1">
                  <c:v>-4.476874006828524E-2</c:v>
                </c:pt>
                <c:pt idx="2">
                  <c:v>-0.36497722599261806</c:v>
                </c:pt>
              </c:numCache>
            </c:numRef>
          </c:val>
        </c:ser>
        <c:ser>
          <c:idx val="16"/>
          <c:order val="16"/>
          <c:tx>
            <c:strRef>
              <c:f>Erzeugung!$B$48</c:f>
              <c:strCache>
                <c:ptCount val="1"/>
                <c:pt idx="0">
                  <c:v>Importsaldo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cat>
            <c:numRef>
              <c:f>Erzeugung!$C$31:$F$31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Erzeugung!$C$48:$F$48</c:f>
              <c:numCache>
                <c:formatCode>#,##0</c:formatCode>
                <c:ptCount val="3"/>
                <c:pt idx="0">
                  <c:v>32.947943220334359</c:v>
                </c:pt>
                <c:pt idx="1">
                  <c:v>97.892848210699526</c:v>
                </c:pt>
                <c:pt idx="2">
                  <c:v>118.9508519988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1027905376"/>
        <c:axId val="-1027909184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Erzeugung!$B$35</c15:sqref>
                        </c15:formulaRef>
                      </c:ext>
                    </c:extLst>
                    <c:strCache>
                      <c:ptCount val="1"/>
                      <c:pt idx="0">
                        <c:v>Heizö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Erzeugung!$C$35:$F$35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36</c15:sqref>
                        </c15:formulaRef>
                      </c:ext>
                    </c:extLst>
                    <c:strCache>
                      <c:ptCount val="1"/>
                      <c:pt idx="0">
                        <c:v>Kernenergi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6:$F$36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38</c15:sqref>
                        </c15:formulaRef>
                      </c:ext>
                    </c:extLst>
                    <c:strCache>
                      <c:ptCount val="1"/>
                      <c:pt idx="0">
                        <c:v>Lauf- und Speicherwasser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8:$F$38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0</c15:sqref>
                        </c15:formulaRef>
                      </c:ext>
                    </c:extLst>
                    <c:strCache>
                      <c:ptCount val="1"/>
                      <c:pt idx="0">
                        <c:v>onshore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0:$F$40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1.5398924827985212</c:v>
                      </c:pt>
                    </c:numCache>
                  </c:numRef>
                </c:val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1</c15:sqref>
                        </c15:formulaRef>
                      </c:ext>
                    </c:extLst>
                    <c:strCache>
                      <c:ptCount val="1"/>
                      <c:pt idx="0">
                        <c:v>offshore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1:$F$41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2</c15:sqref>
                        </c15:formulaRef>
                      </c:ext>
                    </c:extLst>
                    <c:strCache>
                      <c:ptCount val="1"/>
                      <c:pt idx="0">
                        <c:v>PV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2:$F$42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4</c15:sqref>
                        </c15:formulaRef>
                      </c:ext>
                    </c:extLst>
                    <c:strCache>
                      <c:ptCount val="1"/>
                      <c:pt idx="0">
                        <c:v>fest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4:$F$44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.35204361661396533</c:v>
                      </c:pt>
                      <c:pt idx="1">
                        <c:v>0.19330190008085069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5</c15:sqref>
                        </c15:formulaRef>
                      </c:ext>
                    </c:extLst>
                    <c:strCache>
                      <c:ptCount val="1"/>
                      <c:pt idx="0">
                        <c:v>gasförmig und flüssig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5:$F$45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2.9266789463132881E-2</c:v>
                      </c:pt>
                      <c:pt idx="1">
                        <c:v>-0.23807064014913948</c:v>
                      </c:pt>
                      <c:pt idx="2">
                        <c:v>-0.36497722599261451</c:v>
                      </c:pt>
                    </c:numCache>
                  </c:numRef>
                </c:val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6</c15:sqref>
                        </c15:formulaRef>
                      </c:ext>
                    </c:extLst>
                    <c:strCache>
                      <c:ptCount val="1"/>
                      <c:pt idx="0">
                        <c:v>Sonstige Brennstoffe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6:$F$46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B$47</c15:sqref>
                        </c15:formulaRef>
                      </c:ext>
                    </c:extLst>
                    <c:strCache>
                      <c:ptCount val="1"/>
                      <c:pt idx="0">
                        <c:v>Gesamtsumme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31:$F$31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Erzeugung!$C$47:$F$47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35.323225704921271</c:v>
                      </c:pt>
                      <c:pt idx="1">
                        <c:v>-104.77293397287315</c:v>
                      </c:pt>
                      <c:pt idx="2">
                        <c:v>-126.14215838067243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-1027905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616767">
                <a:lumMod val="40000"/>
                <a:lumOff val="6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1027909184"/>
        <c:crosses val="autoZero"/>
        <c:auto val="1"/>
        <c:lblAlgn val="ctr"/>
        <c:lblOffset val="100"/>
        <c:noMultiLvlLbl val="0"/>
      </c:catAx>
      <c:valAx>
        <c:axId val="-1027909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616767"/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r>
                  <a:rPr lang="de-DE" sz="1200" b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Differenz Bruttostromerzeugung [TWh]</a:t>
                </a:r>
              </a:p>
            </c:rich>
          </c:tx>
          <c:layout>
            <c:manualLayout>
              <c:xMode val="edge"/>
              <c:yMode val="edge"/>
              <c:x val="7.4183917671769642E-3"/>
              <c:y val="0.101183629813410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616767"/>
                  </a:solidFill>
                  <a:latin typeface="DINOT" panose="020B0504020101020102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102790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33163511184115"/>
          <c:y val="0.814096329099674"/>
          <c:w val="0.82729084888077697"/>
          <c:h val="0.124895679012345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616767"/>
              </a:solidFill>
              <a:latin typeface="DINOT" panose="020B0504020101020102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latin typeface="Calibri" panose="020F0502020204030204"/>
        </a:defRPr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22984480118991"/>
          <c:y val="2.7916229829145562E-2"/>
          <c:w val="0.83124462911877484"/>
          <c:h val="0.7081613083584597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Stromerzeugung Gesamtanalyse'!$B$90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663300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90:$F$90</c:f>
              <c:numCache>
                <c:formatCode>#,##0</c:formatCode>
                <c:ptCount val="3"/>
                <c:pt idx="0">
                  <c:v>2.4661381539700074</c:v>
                </c:pt>
                <c:pt idx="1">
                  <c:v>3.221698991172758</c:v>
                </c:pt>
                <c:pt idx="2">
                  <c:v>3.2716378498397347</c:v>
                </c:pt>
              </c:numCache>
            </c:numRef>
          </c:val>
        </c:ser>
        <c:ser>
          <c:idx val="0"/>
          <c:order val="1"/>
          <c:tx>
            <c:strRef>
              <c:f>'Stromerzeugung Gesamtanalyse'!$B$89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89:$F$89</c:f>
              <c:numCache>
                <c:formatCode>#,##0</c:formatCode>
                <c:ptCount val="3"/>
                <c:pt idx="0">
                  <c:v>23.042208491520313</c:v>
                </c:pt>
                <c:pt idx="1">
                  <c:v>61.910207953182521</c:v>
                </c:pt>
                <c:pt idx="2">
                  <c:v>67.224228801410163</c:v>
                </c:pt>
              </c:numCache>
            </c:numRef>
          </c:val>
        </c:ser>
        <c:ser>
          <c:idx val="2"/>
          <c:order val="2"/>
          <c:tx>
            <c:strRef>
              <c:f>'Stromerzeugung Gesamtanalyse'!$B$91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91:$F$91</c:f>
              <c:numCache>
                <c:formatCode>#,##0</c:formatCode>
                <c:ptCount val="3"/>
                <c:pt idx="0">
                  <c:v>2.9056867549811543</c:v>
                </c:pt>
                <c:pt idx="1">
                  <c:v>20.270099370571657</c:v>
                </c:pt>
                <c:pt idx="2">
                  <c:v>20.830750295580188</c:v>
                </c:pt>
              </c:numCache>
            </c:numRef>
          </c:val>
        </c:ser>
        <c:ser>
          <c:idx val="5"/>
          <c:order val="5"/>
          <c:tx>
            <c:strRef>
              <c:f>'Stromerzeugung Gesamtanalyse'!$B$94</c:f>
              <c:strCache>
                <c:ptCount val="1"/>
                <c:pt idx="0">
                  <c:v>Speicher</c:v>
                </c:pt>
              </c:strCache>
            </c:strRef>
          </c:tx>
          <c:spPr>
            <a:solidFill>
              <a:srgbClr val="3366CC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94:$F$94</c:f>
              <c:numCache>
                <c:formatCode>#,##0</c:formatCode>
                <c:ptCount val="3"/>
                <c:pt idx="0">
                  <c:v>-0.66747133138363246</c:v>
                </c:pt>
                <c:pt idx="1">
                  <c:v>0.68576776586387478</c:v>
                </c:pt>
                <c:pt idx="2">
                  <c:v>0.49661449935417679</c:v>
                </c:pt>
              </c:numCache>
            </c:numRef>
          </c:val>
        </c:ser>
        <c:ser>
          <c:idx val="7"/>
          <c:order val="7"/>
          <c:tx>
            <c:strRef>
              <c:f>'Stromerzeugung Gesamtanalyse'!$B$96</c:f>
              <c:strCache>
                <c:ptCount val="1"/>
                <c:pt idx="0">
                  <c:v>Windkraft</c:v>
                </c:pt>
              </c:strCache>
            </c:strRef>
          </c:tx>
          <c:spPr>
            <a:solidFill>
              <a:srgbClr val="82B4D7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96:$F$96</c:f>
              <c:numCache>
                <c:formatCode>#,##0</c:formatCode>
                <c:ptCount val="3"/>
                <c:pt idx="0">
                  <c:v>-7.3454806677375473E-3</c:v>
                </c:pt>
                <c:pt idx="1">
                  <c:v>-7.638230325198947E-3</c:v>
                </c:pt>
                <c:pt idx="2">
                  <c:v>-0.6871888093219809</c:v>
                </c:pt>
              </c:numCache>
            </c:numRef>
          </c:val>
        </c:ser>
        <c:ser>
          <c:idx val="11"/>
          <c:order val="11"/>
          <c:tx>
            <c:strRef>
              <c:f>'Stromerzeugung Gesamtanalyse'!$B$100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008B2C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100:$F$100</c:f>
              <c:numCache>
                <c:formatCode>#,##0</c:formatCode>
                <c:ptCount val="3"/>
                <c:pt idx="0">
                  <c:v>-2.6724610409019078E-3</c:v>
                </c:pt>
                <c:pt idx="1">
                  <c:v>-2.6642630684441286</c:v>
                </c:pt>
                <c:pt idx="2">
                  <c:v>-0.82847989641825848</c:v>
                </c:pt>
              </c:numCache>
            </c:numRef>
          </c:val>
        </c:ser>
        <c:ser>
          <c:idx val="16"/>
          <c:order val="16"/>
          <c:tx>
            <c:strRef>
              <c:f>'Stromerzeugung Gesamtanalyse'!$B$105</c:f>
              <c:strCache>
                <c:ptCount val="1"/>
                <c:pt idx="0">
                  <c:v>Importsaldo</c:v>
                </c:pt>
              </c:strCache>
            </c:strRef>
          </c:tx>
          <c:spPr>
            <a:solidFill>
              <a:srgbClr val="FF6699"/>
            </a:solidFill>
            <a:ln>
              <a:noFill/>
            </a:ln>
            <a:effectLst/>
          </c:spPr>
          <c:invertIfNegative val="0"/>
          <c:cat>
            <c:numRef>
              <c:f>'Stromerzeugung Gesamtanalyse'!$C$88:$F$8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Stromerzeugung Gesamtanalyse'!$C$105:$F$105</c:f>
              <c:numCache>
                <c:formatCode>#,##0</c:formatCode>
                <c:ptCount val="3"/>
                <c:pt idx="0">
                  <c:v>-26.410733430502688</c:v>
                </c:pt>
                <c:pt idx="1">
                  <c:v>-76.610531521885932</c:v>
                </c:pt>
                <c:pt idx="2">
                  <c:v>-80.9367959037936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1027905920"/>
        <c:axId val="-1027903744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Stromerzeugung Gesamtanalyse'!$B$92</c15:sqref>
                        </c15:formulaRef>
                      </c:ext>
                    </c:extLst>
                    <c:strCache>
                      <c:ptCount val="1"/>
                      <c:pt idx="0">
                        <c:v>Heizö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Stromerzeugung Gesamtanalyse'!$C$92:$F$92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93</c15:sqref>
                        </c15:formulaRef>
                      </c:ext>
                    </c:extLst>
                    <c:strCache>
                      <c:ptCount val="1"/>
                      <c:pt idx="0">
                        <c:v>Kernenergi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93:$F$93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5.8223786449048021E-2</c:v>
                      </c:pt>
                      <c:pt idx="1">
                        <c:v>-5.0607321698748819E-2</c:v>
                      </c:pt>
                      <c:pt idx="2">
                        <c:v>-1.9330376674624858</c:v>
                      </c:pt>
                    </c:numCache>
                  </c:numRef>
                </c:val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95</c15:sqref>
                        </c15:formulaRef>
                      </c:ext>
                    </c:extLst>
                    <c:strCache>
                      <c:ptCount val="1"/>
                      <c:pt idx="0">
                        <c:v>Lauf- und Speicherwasser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95:$F$95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5.5649509915269846E-3</c:v>
                      </c:pt>
                      <c:pt idx="1">
                        <c:v>2.5383269995131741E-3</c:v>
                      </c:pt>
                      <c:pt idx="2">
                        <c:v>5.4229368202527439E-3</c:v>
                      </c:pt>
                    </c:numCache>
                  </c:numRef>
                </c:val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97</c15:sqref>
                        </c15:formulaRef>
                      </c:ext>
                    </c:extLst>
                    <c:strCache>
                      <c:ptCount val="1"/>
                      <c:pt idx="0">
                        <c:v>onshore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97:$F$97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2.927496574898214E-4</c:v>
                      </c:pt>
                      <c:pt idx="1">
                        <c:v>0</c:v>
                      </c:pt>
                      <c:pt idx="2">
                        <c:v>-0.67955057899675353</c:v>
                      </c:pt>
                    </c:numCache>
                  </c:numRef>
                </c:val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98</c15:sqref>
                        </c15:formulaRef>
                      </c:ext>
                    </c:extLst>
                    <c:strCache>
                      <c:ptCount val="1"/>
                      <c:pt idx="0">
                        <c:v>offshore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98:$F$98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7.6382303252273687E-3</c:v>
                      </c:pt>
                      <c:pt idx="1">
                        <c:v>-7.6382303252273687E-3</c:v>
                      </c:pt>
                      <c:pt idx="2">
                        <c:v>-7.6382303252344741E-3</c:v>
                      </c:pt>
                    </c:numCache>
                  </c:numRef>
                </c:val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99</c15:sqref>
                        </c15:formulaRef>
                      </c:ext>
                    </c:extLst>
                    <c:strCache>
                      <c:ptCount val="1"/>
                      <c:pt idx="0">
                        <c:v>PV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99:$F$99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-1.543047965100186E-3</c:v>
                      </c:pt>
                      <c:pt idx="2">
                        <c:v>-0.61479410780125221</c:v>
                      </c:pt>
                    </c:numCache>
                  </c:numRef>
                </c:val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101</c15:sqref>
                        </c15:formulaRef>
                      </c:ext>
                    </c:extLst>
                    <c:strCache>
                      <c:ptCount val="1"/>
                      <c:pt idx="0">
                        <c:v>fest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101:$F$101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-1.5876035278635108</c:v>
                      </c:pt>
                      <c:pt idx="2">
                        <c:v>-0.82847989641838637</c:v>
                      </c:pt>
                    </c:numCache>
                  </c:numRef>
                </c:val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102</c15:sqref>
                        </c15:formulaRef>
                      </c:ext>
                    </c:extLst>
                    <c:strCache>
                      <c:ptCount val="1"/>
                      <c:pt idx="0">
                        <c:v>gasförmig und flüssig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102:$F$102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-2.6724610409019078E-3</c:v>
                      </c:pt>
                      <c:pt idx="1">
                        <c:v>-1.0766595405806214</c:v>
                      </c:pt>
                      <c:pt idx="2">
                        <c:v>1.3500311979441904E-13</c:v>
                      </c:pt>
                    </c:numCache>
                  </c:numRef>
                </c:val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103</c15:sqref>
                        </c15:formulaRef>
                      </c:ext>
                    </c:extLst>
                    <c:strCache>
                      <c:ptCount val="1"/>
                      <c:pt idx="0">
                        <c:v>Sonstige Brennstoffe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103:$F$103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B$104</c15:sqref>
                        </c15:formulaRef>
                      </c:ext>
                    </c:extLst>
                    <c:strCache>
                      <c:ptCount val="1"/>
                      <c:pt idx="0">
                        <c:v>Gesamtsumme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88:$F$8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tromerzeugung Gesamtanalyse'!$C$104:$F$104</c15:sqref>
                        </c15:formulaRef>
                      </c:ext>
                    </c:extLst>
                    <c:numCache>
                      <c:formatCode>#,##0</c:formatCode>
                      <c:ptCount val="3"/>
                      <c:pt idx="0">
                        <c:v>27.66273744822999</c:v>
                      </c:pt>
                      <c:pt idx="1">
                        <c:v>80.694359440587789</c:v>
                      </c:pt>
                      <c:pt idx="2">
                        <c:v>86.249485196260281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-102790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616767">
                <a:lumMod val="40000"/>
                <a:lumOff val="6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1027903744"/>
        <c:crosses val="autoZero"/>
        <c:auto val="1"/>
        <c:lblAlgn val="ctr"/>
        <c:lblOffset val="100"/>
        <c:noMultiLvlLbl val="0"/>
      </c:catAx>
      <c:valAx>
        <c:axId val="-1027903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616767"/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r>
                  <a:rPr lang="de-DE" sz="1200" b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Differenz Bruttostromerzeugung [TWh]</a:t>
                </a:r>
              </a:p>
            </c:rich>
          </c:tx>
          <c:layout>
            <c:manualLayout>
              <c:xMode val="edge"/>
              <c:yMode val="edge"/>
              <c:x val="9.1477457771050041E-3"/>
              <c:y val="0.137169740387226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616767"/>
                  </a:solidFill>
                  <a:latin typeface="DINOT" panose="020B0504020101020102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1027905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295972967790439"/>
          <c:y val="0.82162310424449947"/>
          <c:w val="0.82726294819908708"/>
          <c:h val="0.122420918236944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616767"/>
              </a:solidFill>
              <a:latin typeface="DINOT" panose="020B0504020101020102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latin typeface="Calibri" panose="020F0502020204030204"/>
        </a:defRPr>
      </a:pPr>
      <a:endParaRPr lang="de-D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39165455100701"/>
          <c:y val="4.4645987654320984E-2"/>
          <c:w val="0.82884973605955126"/>
          <c:h val="0.67619013650115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Kapazität!$B$29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663300"/>
            </a:solidFill>
            <a:ln>
              <a:noFill/>
            </a:ln>
            <a:effectLst/>
          </c:spPr>
          <c:invertIfNegative val="0"/>
          <c:cat>
            <c:numRef>
              <c:f>Kapazität!$C$27:$F$27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Kapazität!$C$29:$F$29</c:f>
              <c:numCache>
                <c:formatCode>#,##0</c:formatCode>
                <c:ptCount val="3"/>
                <c:pt idx="0">
                  <c:v>-0.18308247294906366</c:v>
                </c:pt>
                <c:pt idx="1">
                  <c:v>-0.8270824729490549</c:v>
                </c:pt>
                <c:pt idx="2">
                  <c:v>-0.8270824729490549</c:v>
                </c:pt>
              </c:numCache>
            </c:numRef>
          </c:val>
        </c:ser>
        <c:ser>
          <c:idx val="0"/>
          <c:order val="1"/>
          <c:tx>
            <c:strRef>
              <c:f>Kapazität!$B$28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Kapazität!$C$27:$F$27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Kapazität!$C$28:$F$28</c:f>
              <c:numCache>
                <c:formatCode>#,##0</c:formatCode>
                <c:ptCount val="3"/>
                <c:pt idx="0">
                  <c:v>-1.0869565217710431E-3</c:v>
                </c:pt>
                <c:pt idx="1">
                  <c:v>-2.3754673913043476</c:v>
                </c:pt>
                <c:pt idx="2">
                  <c:v>-3.5102065217391285</c:v>
                </c:pt>
              </c:numCache>
            </c:numRef>
          </c:val>
        </c:ser>
        <c:ser>
          <c:idx val="2"/>
          <c:order val="2"/>
          <c:tx>
            <c:strRef>
              <c:f>Kapazität!$B$30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numRef>
              <c:f>Kapazität!$C$27:$F$27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Kapazität!$C$30:$F$30</c:f>
              <c:numCache>
                <c:formatCode>#,##0</c:formatCode>
                <c:ptCount val="3"/>
                <c:pt idx="0">
                  <c:v>0.18152770588579159</c:v>
                </c:pt>
                <c:pt idx="1">
                  <c:v>2.3112137071106815</c:v>
                </c:pt>
                <c:pt idx="2">
                  <c:v>3.4101952120276877</c:v>
                </c:pt>
              </c:numCache>
            </c:numRef>
          </c:val>
        </c:ser>
        <c:ser>
          <c:idx val="3"/>
          <c:order val="3"/>
          <c:tx>
            <c:strRef>
              <c:f>Kapazität!$B$35</c:f>
              <c:strCache>
                <c:ptCount val="1"/>
                <c:pt idx="0">
                  <c:v>Windkraft</c:v>
                </c:pt>
              </c:strCache>
            </c:strRef>
          </c:tx>
          <c:spPr>
            <a:solidFill>
              <a:srgbClr val="82B4D7"/>
            </a:solidFill>
            <a:ln>
              <a:noFill/>
            </a:ln>
            <a:effectLst/>
          </c:spPr>
          <c:invertIfNegative val="0"/>
          <c:cat>
            <c:strLit>
              <c:ptCount val="3"/>
              <c:pt idx="0">
                <c:v>2020</c:v>
              </c:pt>
              <c:pt idx="1">
                <c:v>2025</c:v>
              </c:pt>
              <c:pt idx="2">
                <c:v>2030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Kapazität!$C$35:$F$35</c:f>
              <c:numCache>
                <c:formatCode>#,##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.91173504986853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951991712"/>
        <c:axId val="-951991168"/>
      </c:barChart>
      <c:catAx>
        <c:axId val="-951991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616767">
                <a:lumMod val="40000"/>
                <a:lumOff val="6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1991168"/>
        <c:crosses val="autoZero"/>
        <c:auto val="1"/>
        <c:lblAlgn val="ctr"/>
        <c:lblOffset val="0"/>
        <c:tickMarkSkip val="1"/>
        <c:noMultiLvlLbl val="0"/>
      </c:catAx>
      <c:valAx>
        <c:axId val="-951991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r>
                  <a:rPr lang="de-DE"/>
                  <a:t>Differenz Bruttoleistung [GW]</a:t>
                </a:r>
              </a:p>
            </c:rich>
          </c:tx>
          <c:layout>
            <c:manualLayout>
              <c:xMode val="edge"/>
              <c:yMode val="edge"/>
              <c:x val="0"/>
              <c:y val="0.1659205497190835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OT" panose="020B0504020101020102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1991712"/>
        <c:crosses val="autoZero"/>
        <c:crossBetween val="between"/>
      </c:valAx>
      <c:spPr>
        <a:noFill/>
        <a:ln>
          <a:solidFill>
            <a:schemeClr val="bg1"/>
          </a:solidFill>
        </a:ln>
        <a:effectLst/>
      </c:spPr>
    </c:plotArea>
    <c:legend>
      <c:legendPos val="b"/>
      <c:layout>
        <c:manualLayout>
          <c:xMode val="edge"/>
          <c:yMode val="edge"/>
          <c:x val="0.10313829404071875"/>
          <c:y val="0.81280710662028499"/>
          <c:w val="0.82623036933400562"/>
          <c:h val="0.12623335697171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INOT" panose="020B0504020101020102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DINOT" panose="020B0504020101020102" pitchFamily="34" charset="0"/>
        </a:defRPr>
      </a:pPr>
      <a:endParaRPr lang="de-D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493661979690333"/>
          <c:y val="4.9653395061728396E-2"/>
          <c:w val="0.8257060901607991"/>
          <c:h val="0.67189770045322583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'Kapazität Gesamtanalyse'!$B$81</c:f>
              <c:strCache>
                <c:ptCount val="1"/>
                <c:pt idx="0">
                  <c:v>Kernenergi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1:$F$81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-0.26109287693037686</c:v>
                </c:pt>
              </c:numCache>
            </c:numRef>
          </c:val>
        </c:ser>
        <c:ser>
          <c:idx val="1"/>
          <c:order val="1"/>
          <c:tx>
            <c:strRef>
              <c:f>'Kapazität Gesamtanalyse'!$B$78</c:f>
              <c:strCache>
                <c:ptCount val="1"/>
                <c:pt idx="0">
                  <c:v>Braunkohle</c:v>
                </c:pt>
              </c:strCache>
            </c:strRef>
          </c:tx>
          <c:spPr>
            <a:solidFill>
              <a:srgbClr val="663300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78:$F$78</c:f>
              <c:numCache>
                <c:formatCode>#,##0.0</c:formatCode>
                <c:ptCount val="3"/>
                <c:pt idx="0">
                  <c:v>0.32639952614293222</c:v>
                </c:pt>
                <c:pt idx="1">
                  <c:v>0.42633337448805975</c:v>
                </c:pt>
                <c:pt idx="2">
                  <c:v>0.42633337448805086</c:v>
                </c:pt>
              </c:numCache>
            </c:numRef>
          </c:val>
        </c:ser>
        <c:ser>
          <c:idx val="0"/>
          <c:order val="2"/>
          <c:tx>
            <c:strRef>
              <c:f>'Kapazität Gesamtanalyse'!$B$77</c:f>
              <c:strCache>
                <c:ptCount val="1"/>
                <c:pt idx="0">
                  <c:v>Steinkohl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77:$F$77</c:f>
              <c:numCache>
                <c:formatCode>#,##0.0</c:formatCode>
                <c:ptCount val="3"/>
                <c:pt idx="0">
                  <c:v>1.8542349502385669</c:v>
                </c:pt>
                <c:pt idx="1">
                  <c:v>4.7394937119787208</c:v>
                </c:pt>
                <c:pt idx="2">
                  <c:v>3.6331343311647082</c:v>
                </c:pt>
              </c:numCache>
            </c:numRef>
          </c:val>
        </c:ser>
        <c:ser>
          <c:idx val="2"/>
          <c:order val="3"/>
          <c:tx>
            <c:strRef>
              <c:f>'Kapazität Gesamtanalyse'!$B$79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79:$F$79</c:f>
              <c:numCache>
                <c:formatCode>#,##0.0</c:formatCode>
                <c:ptCount val="3"/>
                <c:pt idx="0">
                  <c:v>-0.66268610708313247</c:v>
                </c:pt>
                <c:pt idx="1">
                  <c:v>-3.3992201903829482</c:v>
                </c:pt>
                <c:pt idx="2">
                  <c:v>-3.3813934751924037</c:v>
                </c:pt>
              </c:numCache>
            </c:numRef>
          </c:val>
        </c:ser>
        <c:ser>
          <c:idx val="3"/>
          <c:order val="4"/>
          <c:tx>
            <c:strRef>
              <c:f>'Kapazität Gesamtanalyse'!$B$80</c:f>
              <c:strCache>
                <c:ptCount val="1"/>
                <c:pt idx="0">
                  <c:v>Heizöl</c:v>
                </c:pt>
              </c:strCache>
            </c:strRef>
          </c:tx>
          <c:spPr>
            <a:solidFill>
              <a:srgbClr val="F69300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0:$F$80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5"/>
          <c:order val="5"/>
          <c:tx>
            <c:strRef>
              <c:f>'Kapazität Gesamtanalyse'!$B$82</c:f>
              <c:strCache>
                <c:ptCount val="1"/>
                <c:pt idx="0">
                  <c:v>Speicher</c:v>
                </c:pt>
              </c:strCache>
            </c:strRef>
          </c:tx>
          <c:spPr>
            <a:solidFill>
              <a:srgbClr val="3366CC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2:$F$82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6"/>
          <c:order val="6"/>
          <c:tx>
            <c:strRef>
              <c:f>'Kapazität Gesamtanalyse'!$B$83</c:f>
              <c:strCache>
                <c:ptCount val="1"/>
                <c:pt idx="0">
                  <c:v>Lauf- und Speicherwasser</c:v>
                </c:pt>
              </c:strCache>
            </c:strRef>
          </c:tx>
          <c:spPr>
            <a:solidFill>
              <a:srgbClr val="5A82B4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3:$F$83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7"/>
          <c:order val="7"/>
          <c:tx>
            <c:strRef>
              <c:f>'Kapazität Gesamtanalyse'!$B$84</c:f>
              <c:strCache>
                <c:ptCount val="1"/>
                <c:pt idx="0">
                  <c:v>Windkraft</c:v>
                </c:pt>
              </c:strCache>
            </c:strRef>
          </c:tx>
          <c:spPr>
            <a:solidFill>
              <a:srgbClr val="82B4D7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4:$F$84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-0.2644863737689036</c:v>
                </c:pt>
              </c:numCache>
            </c:numRef>
          </c:val>
        </c:ser>
        <c:ser>
          <c:idx val="10"/>
          <c:order val="10"/>
          <c:tx>
            <c:strRef>
              <c:f>'Kapazität Gesamtanalyse'!$B$87</c:f>
              <c:strCache>
                <c:ptCount val="1"/>
                <c:pt idx="0">
                  <c:v>PV</c:v>
                </c:pt>
              </c:strCache>
            </c:strRef>
          </c:tx>
          <c:spPr>
            <a:solidFill>
              <a:srgbClr val="F5CD82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7:$F$87</c:f>
              <c:numCache>
                <c:formatCode>#,##0.0</c:formatCode>
                <c:ptCount val="3"/>
                <c:pt idx="0">
                  <c:v>0</c:v>
                </c:pt>
                <c:pt idx="1">
                  <c:v>-1.5016040365409822E-3</c:v>
                </c:pt>
                <c:pt idx="2">
                  <c:v>-0.45196166744743493</c:v>
                </c:pt>
              </c:numCache>
            </c:numRef>
          </c:val>
        </c:ser>
        <c:ser>
          <c:idx val="11"/>
          <c:order val="11"/>
          <c:tx>
            <c:strRef>
              <c:f>'Kapazität Gesamtanalyse'!$B$88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008B2C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88:$F$88</c:f>
              <c:numCache>
                <c:formatCode>#,##0.0</c:formatCode>
                <c:ptCount val="3"/>
                <c:pt idx="0">
                  <c:v>0</c:v>
                </c:pt>
                <c:pt idx="1">
                  <c:v>-0.14410053421178048</c:v>
                </c:pt>
                <c:pt idx="2">
                  <c:v>0</c:v>
                </c:pt>
              </c:numCache>
            </c:numRef>
          </c:val>
        </c:ser>
        <c:ser>
          <c:idx val="14"/>
          <c:order val="14"/>
          <c:tx>
            <c:strRef>
              <c:f>'Kapazität Gesamtanalyse'!$B$91</c:f>
              <c:strCache>
                <c:ptCount val="1"/>
                <c:pt idx="0">
                  <c:v>Sonstige Brennstoffe</c:v>
                </c:pt>
              </c:strCache>
            </c:strRef>
          </c:tx>
          <c:spPr>
            <a:solidFill>
              <a:srgbClr val="DC5B08"/>
            </a:solidFill>
            <a:ln>
              <a:noFill/>
            </a:ln>
            <a:effectLst/>
          </c:spPr>
          <c:invertIfNegative val="0"/>
          <c:cat>
            <c:numRef>
              <c:f>'Kapazität Gesamtanalyse'!$C$76:$F$76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</c:numRef>
          </c:cat>
          <c:val>
            <c:numRef>
              <c:f>'Kapazität Gesamtanalyse'!$C$91:$F$91</c:f>
              <c:numCache>
                <c:formatCode>#,##0.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-952003680"/>
        <c:axId val="-951999872"/>
        <c:extLst>
          <c:ext xmlns:c15="http://schemas.microsoft.com/office/drawing/2012/chart" uri="{02D57815-91ED-43cb-92C2-25804820EDAC}">
            <c15:filteredBarSeries>
              <c15:ser>
                <c:idx val="8"/>
                <c:order val="8"/>
                <c:tx>
                  <c:strRef>
                    <c:extLst>
                      <c:ext uri="{02D57815-91ED-43cb-92C2-25804820EDAC}">
                        <c15:formulaRef>
                          <c15:sqref>'Kapazität Gesamtanalyse'!$B$85</c15:sqref>
                        </c15:formulaRef>
                      </c:ext>
                    </c:extLst>
                    <c:strCache>
                      <c:ptCount val="1"/>
                      <c:pt idx="0">
                        <c:v>onshore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Kapazität Gesamtanalyse'!$C$76:$F$76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Kapazität Gesamtanalyse'!$C$85:$F$85</c15:sqref>
                        </c15:formulaRef>
                      </c:ext>
                    </c:extLst>
                    <c:numCache>
                      <c:formatCode>#,##0.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-0.26448637376888939</c:v>
                      </c:pt>
                    </c:numCache>
                  </c:numRef>
                </c:val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B$86</c15:sqref>
                        </c15:formulaRef>
                      </c:ext>
                    </c:extLst>
                    <c:strCache>
                      <c:ptCount val="1"/>
                      <c:pt idx="0">
                        <c:v>offshore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76:$F$76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86:$F$86</c15:sqref>
                        </c15:formulaRef>
                      </c:ext>
                    </c:extLst>
                    <c:numCache>
                      <c:formatCode>#,##0.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B$89</c15:sqref>
                        </c15:formulaRef>
                      </c:ext>
                    </c:extLst>
                    <c:strCache>
                      <c:ptCount val="1"/>
                      <c:pt idx="0">
                        <c:v>fest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76:$F$76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89:$F$89</c15:sqref>
                        </c15:formulaRef>
                      </c:ext>
                    </c:extLst>
                    <c:numCache>
                      <c:formatCode>#,##0.0</c:formatCode>
                      <c:ptCount val="3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</c:numCache>
                  </c:numRef>
                </c:val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B$90</c15:sqref>
                        </c15:formulaRef>
                      </c:ext>
                    </c:extLst>
                    <c:strCache>
                      <c:ptCount val="1"/>
                      <c:pt idx="0">
                        <c:v>gasförmig und flüssig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76:$F$76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Kapazität Gesamtanalyse'!$C$90:$F$90</c15:sqref>
                        </c15:formulaRef>
                      </c:ext>
                    </c:extLst>
                    <c:numCache>
                      <c:formatCode>#,##0.0</c:formatCode>
                      <c:ptCount val="3"/>
                      <c:pt idx="0">
                        <c:v>0</c:v>
                      </c:pt>
                      <c:pt idx="1">
                        <c:v>-0.1441005342117796</c:v>
                      </c:pt>
                      <c:pt idx="2">
                        <c:v>1.9539925233402755E-14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-952003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616767">
                <a:lumMod val="40000"/>
                <a:lumOff val="60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1999872"/>
        <c:crosses val="autoZero"/>
        <c:auto val="1"/>
        <c:lblAlgn val="ctr"/>
        <c:lblOffset val="100"/>
        <c:noMultiLvlLbl val="0"/>
      </c:catAx>
      <c:valAx>
        <c:axId val="-951999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616767"/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r>
                  <a:rPr lang="de-DE" sz="1200" b="0" dirty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Differenz Bruttoleistung [GW]</a:t>
                </a:r>
              </a:p>
            </c:rich>
          </c:tx>
          <c:layout>
            <c:manualLayout>
              <c:xMode val="edge"/>
              <c:yMode val="edge"/>
              <c:x val="2.6385167388871581E-3"/>
              <c:y val="0.168951523632490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616767"/>
                  </a:solidFill>
                  <a:latin typeface="DINOT" panose="020B0504020101020102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2003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308033671557233"/>
          <c:y val="0.79421646233212906"/>
          <c:w val="0.82766256205365252"/>
          <c:h val="0.187215898410576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616767"/>
              </a:solidFill>
              <a:latin typeface="DINOT" panose="020B0504020101020102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latin typeface="Calibri" panose="020F0502020204030204"/>
        </a:defRPr>
      </a:pPr>
      <a:endParaRPr lang="de-DE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30173826319779"/>
          <c:y val="4.9653395061728396E-2"/>
          <c:w val="0.82608211525720876"/>
          <c:h val="0.67262390609661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O2-Emissionen'!$B$129</c:f>
              <c:strCache>
                <c:ptCount val="1"/>
                <c:pt idx="0">
                  <c:v>Deutschland (Strom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527880346388184E-17"/>
                  <c:y val="-2.588191064976245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2-Emissionen'!$C$128:$F$12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  <c:extLst/>
            </c:numRef>
          </c:cat>
          <c:val>
            <c:numRef>
              <c:f>'CO2-Emissionen'!$C$129:$F$129</c:f>
              <c:numCache>
                <c:formatCode>0.0</c:formatCode>
                <c:ptCount val="3"/>
                <c:pt idx="0">
                  <c:v>-25.850843584149573</c:v>
                </c:pt>
                <c:pt idx="1">
                  <c:v>-81.787522192940173</c:v>
                </c:pt>
                <c:pt idx="2">
                  <c:v>-102.03909738697803</c:v>
                </c:pt>
              </c:numCache>
              <c:extLst/>
            </c:numRef>
          </c:val>
        </c:ser>
        <c:ser>
          <c:idx val="1"/>
          <c:order val="1"/>
          <c:tx>
            <c:strRef>
              <c:f>'CO2-Emissionen'!$B$131</c:f>
              <c:strCache>
                <c:ptCount val="1"/>
                <c:pt idx="0">
                  <c:v>Nachbarländer (Strom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2-Emissionen'!$C$128:$F$12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  <c:extLst/>
            </c:numRef>
          </c:cat>
          <c:val>
            <c:numRef>
              <c:f>'CO2-Emissionen'!$C$131:$F$131</c:f>
              <c:numCache>
                <c:formatCode>0.0</c:formatCode>
                <c:ptCount val="3"/>
                <c:pt idx="0">
                  <c:v>20.209771566048175</c:v>
                </c:pt>
                <c:pt idx="1">
                  <c:v>53.206234027280772</c:v>
                </c:pt>
                <c:pt idx="2">
                  <c:v>56.191542397456175</c:v>
                </c:pt>
              </c:numCache>
              <c:extLst/>
            </c:numRef>
          </c:val>
        </c:ser>
        <c:ser>
          <c:idx val="2"/>
          <c:order val="2"/>
          <c:tx>
            <c:strRef>
              <c:f>'CO2-Emissionen'!$B$132</c:f>
              <c:strCache>
                <c:ptCount val="1"/>
                <c:pt idx="0">
                  <c:v>Nicht-Nachbarländer (Strom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647975987236338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2-Emissionen'!$C$128:$F$12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  <c:extLst/>
            </c:numRef>
          </c:cat>
          <c:val>
            <c:numRef>
              <c:f>'CO2-Emissionen'!$C$132:$F$132</c:f>
              <c:numCache>
                <c:formatCode>0.0</c:formatCode>
                <c:ptCount val="3"/>
                <c:pt idx="0">
                  <c:v>4.5686993927872663</c:v>
                </c:pt>
                <c:pt idx="1">
                  <c:v>20.763389573311827</c:v>
                </c:pt>
                <c:pt idx="2">
                  <c:v>34.160674477301598</c:v>
                </c:pt>
              </c:numCache>
              <c:extLst/>
            </c:numRef>
          </c:val>
        </c:ser>
        <c:ser>
          <c:idx val="4"/>
          <c:order val="4"/>
          <c:tx>
            <c:strRef>
              <c:f>'CO2-Emissionen'!$B$130</c:f>
              <c:strCache>
                <c:ptCount val="1"/>
                <c:pt idx="0">
                  <c:v>Deutschland (Wärme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2.008503402436393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7246714344731083E-16"/>
                  <c:y val="-3.556944444444444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CO2-Emissionen'!$C$128:$F$128</c:f>
              <c:numCache>
                <c:formatCode>General</c:formatCode>
                <c:ptCount val="3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</c:numCache>
              <c:extLst/>
            </c:numRef>
          </c:cat>
          <c:val>
            <c:numRef>
              <c:f>'CO2-Emissionen'!$C$130:$F$130</c:f>
              <c:numCache>
                <c:formatCode>0.0</c:formatCode>
                <c:ptCount val="3"/>
                <c:pt idx="0">
                  <c:v>1.0723726253141308</c:v>
                </c:pt>
                <c:pt idx="1">
                  <c:v>7.817898592347575</c:v>
                </c:pt>
                <c:pt idx="2">
                  <c:v>11.686880512220256</c:v>
                </c:pt>
              </c:numCache>
              <c:extLst/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-952005312"/>
        <c:axId val="-952000960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CO2-Emissionen'!$B$133</c15:sqref>
                        </c15:formulaRef>
                      </c:ext>
                    </c:extLst>
                    <c:strCache>
                      <c:ptCount val="1"/>
                      <c:pt idx="0">
                        <c:v>Gesamt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0" i="0" u="none" strike="noStrike" kern="1200" baseline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" panose="020F0502020204030204"/>
                          <a:ea typeface="+mn-ea"/>
                          <a:cs typeface="+mn-cs"/>
                        </a:defRPr>
                      </a:pPr>
                      <a:endParaRPr lang="de-DE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'CO2-Emissionen'!$C$128:$F$128</c15:sqref>
                        </c15:formulaRef>
                      </c:ext>
                    </c:extLst>
                    <c:numCache>
                      <c:formatCode>General</c:formatCode>
                      <c:ptCount val="3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CO2-Emissionen'!$C$133:$F$133</c15:sqref>
                        </c15:formulaRef>
                      </c:ext>
                    </c:extLst>
                    <c:numCache>
                      <c:formatCode>0.0</c:formatCode>
                      <c:ptCount val="3"/>
                      <c:pt idx="0">
                        <c:v>-1.072372625314074</c:v>
                      </c:pt>
                      <c:pt idx="1">
                        <c:v>-7.8178985923475466</c:v>
                      </c:pt>
                      <c:pt idx="2">
                        <c:v>-11.686880512220228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-95200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2000960"/>
        <c:crosses val="autoZero"/>
        <c:auto val="1"/>
        <c:lblAlgn val="ctr"/>
        <c:lblOffset val="100"/>
        <c:noMultiLvlLbl val="0"/>
      </c:catAx>
      <c:valAx>
        <c:axId val="-95200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616767"/>
                    </a:solidFill>
                    <a:latin typeface="DINOT" panose="020B0504020101020102" pitchFamily="34" charset="0"/>
                    <a:ea typeface="+mn-ea"/>
                    <a:cs typeface="+mn-cs"/>
                  </a:defRPr>
                </a:pPr>
                <a:r>
                  <a:rPr lang="de-DE" sz="1200" b="0" dirty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Differenz CO2 Emissionen</a:t>
                </a:r>
                <a:br>
                  <a:rPr lang="de-DE" sz="1200" b="0" dirty="0">
                    <a:solidFill>
                      <a:srgbClr val="616767"/>
                    </a:solidFill>
                    <a:latin typeface="DINOT" panose="020B0504020101020102" pitchFamily="34" charset="0"/>
                  </a:rPr>
                </a:br>
                <a:r>
                  <a:rPr lang="de-DE" sz="1200" b="0" dirty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[Mio. t CO2 </a:t>
                </a:r>
                <a:r>
                  <a:rPr lang="de-DE" sz="1200" b="0" dirty="0" smtClean="0">
                    <a:solidFill>
                      <a:srgbClr val="616767"/>
                    </a:solidFill>
                    <a:latin typeface="DINOT" panose="020B0504020101020102" pitchFamily="34" charset="0"/>
                  </a:rPr>
                  <a:t>pro Jahr]</a:t>
                </a:r>
                <a:endParaRPr lang="de-DE" sz="1200" b="0" dirty="0">
                  <a:solidFill>
                    <a:srgbClr val="616767"/>
                  </a:solidFill>
                  <a:latin typeface="DINOT" panose="020B0504020101020102" pitchFamily="34" charset="0"/>
                </a:endParaRPr>
              </a:p>
            </c:rich>
          </c:tx>
          <c:layout>
            <c:manualLayout>
              <c:xMode val="edge"/>
              <c:yMode val="edge"/>
              <c:x val="2.3519006451652178E-3"/>
              <c:y val="0.192858037970717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616767"/>
                  </a:solidFill>
                  <a:latin typeface="DINOT" panose="020B0504020101020102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616767"/>
                </a:solidFill>
                <a:latin typeface="DINOT" panose="020B0504020101020102" pitchFamily="34" charset="0"/>
                <a:ea typeface="+mn-ea"/>
                <a:cs typeface="+mn-cs"/>
              </a:defRPr>
            </a:pPr>
            <a:endParaRPr lang="de-DE"/>
          </a:p>
        </c:txPr>
        <c:crossAx val="-952005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315224438156363"/>
          <c:y val="0.81104200171265051"/>
          <c:w val="0.82654945167551208"/>
          <c:h val="0.130019006244909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accent6">
                  <a:lumMod val="50000"/>
                </a:schemeClr>
              </a:solidFill>
              <a:latin typeface="DINOT" panose="020B0504020101020102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accent6">
              <a:lumMod val="50000"/>
            </a:schemeClr>
          </a:solidFill>
          <a:latin typeface="Calibri" panose="020F0502020204030204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4" y="2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/>
          <a:lstStyle>
            <a:lvl1pPr algn="r">
              <a:defRPr sz="1200"/>
            </a:lvl1pPr>
          </a:lstStyle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4" y="9721106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278283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4" y="2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/>
          <a:lstStyle>
            <a:lvl1pPr algn="r">
              <a:defRPr sz="1200"/>
            </a:lvl1pPr>
          </a:lstStyle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21275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5" tIns="47538" rIns="95075" bIns="47538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1441"/>
            <a:ext cx="5681980" cy="4605575"/>
          </a:xfrm>
          <a:prstGeom prst="rect">
            <a:avLst/>
          </a:prstGeom>
        </p:spPr>
        <p:txBody>
          <a:bodyPr vert="horz" lIns="95075" tIns="47538" rIns="95075" bIns="47538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4" y="9721106"/>
            <a:ext cx="3077739" cy="511730"/>
          </a:xfrm>
          <a:prstGeom prst="rect">
            <a:avLst/>
          </a:prstGeom>
        </p:spPr>
        <p:txBody>
          <a:bodyPr vert="horz" lIns="95075" tIns="47538" rIns="95075" bIns="47538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50463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961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267" indent="-178267">
              <a:buFont typeface="Arial" panose="020B0604020202020204" pitchFamily="34" charset="0"/>
              <a:buChar char="•"/>
            </a:pPr>
            <a:endParaRPr lang="de-DE" baseline="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48854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66078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267" indent="-178267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76858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495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smtClean="0"/>
          </a:p>
        </p:txBody>
      </p:sp>
      <p:sp>
        <p:nvSpPr>
          <p:cNvPr id="30724" name="Datumsplatzhalt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de-DE" smtClean="0">
                <a:latin typeface="Arial" panose="020B0604020202020204" pitchFamily="34" charset="0"/>
              </a:rPr>
              <a:t>© 2013 Prognos AG</a:t>
            </a:r>
            <a:endParaRPr lang="de-DE" altLang="de-DE" smtClean="0">
              <a:latin typeface="Arial" panose="020B0604020202020204" pitchFamily="34" charset="0"/>
            </a:endParaRPr>
          </a:p>
        </p:txBody>
      </p:sp>
      <p:sp>
        <p:nvSpPr>
          <p:cNvPr id="30725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5E6A653-8E6E-462B-A163-78C952E02D42}" type="slidenum">
              <a:rPr lang="de-DE" altLang="de-D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de-DE" altLang="de-D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072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 smtClean="0"/>
          </a:p>
        </p:txBody>
      </p:sp>
      <p:sp>
        <p:nvSpPr>
          <p:cNvPr id="32772" name="Datumsplatzhalt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de-DE" smtClean="0">
                <a:latin typeface="Arial" panose="020B0604020202020204" pitchFamily="34" charset="0"/>
              </a:rPr>
              <a:t>© 2013 Prognos AG</a:t>
            </a:r>
            <a:endParaRPr lang="de-DE" altLang="de-DE" smtClean="0">
              <a:latin typeface="Arial" panose="020B0604020202020204" pitchFamily="34" charset="0"/>
            </a:endParaRPr>
          </a:p>
        </p:txBody>
      </p:sp>
      <p:sp>
        <p:nvSpPr>
          <p:cNvPr id="32773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21D4477-7BA7-4B09-9834-1C1F75352247}" type="slidenum">
              <a:rPr lang="de-DE" altLang="de-D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de-DE" altLang="de-D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883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 smtClean="0"/>
          </a:p>
        </p:txBody>
      </p:sp>
      <p:sp>
        <p:nvSpPr>
          <p:cNvPr id="32772" name="Datumsplatzhalt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de-DE" smtClean="0">
                <a:latin typeface="Arial" panose="020B0604020202020204" pitchFamily="34" charset="0"/>
              </a:rPr>
              <a:t>© 2013 Prognos AG</a:t>
            </a:r>
            <a:endParaRPr lang="de-DE" altLang="de-DE" smtClean="0">
              <a:latin typeface="Arial" panose="020B0604020202020204" pitchFamily="34" charset="0"/>
            </a:endParaRPr>
          </a:p>
        </p:txBody>
      </p:sp>
      <p:sp>
        <p:nvSpPr>
          <p:cNvPr id="32773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21D4477-7BA7-4B09-9834-1C1F75352247}" type="slidenum">
              <a:rPr lang="de-DE" altLang="de-DE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de-DE" altLang="de-D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9708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0928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267" indent="-178267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4186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7944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23213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8267" indent="-178267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© 2013 Prognos A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4434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6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9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 descr="EWI_Logo_Text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0957" y="3978626"/>
            <a:ext cx="958056" cy="396189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20000" y="2547673"/>
            <a:ext cx="7313734" cy="820738"/>
          </a:xfrm>
        </p:spPr>
        <p:txBody>
          <a:bodyPr>
            <a:noAutofit/>
          </a:bodyPr>
          <a:lstStyle>
            <a:lvl1pPr marL="0" indent="0" algn="l">
              <a:lnSpc>
                <a:spcPts val="3200"/>
              </a:lnSpc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720000" y="6503963"/>
            <a:ext cx="5534632" cy="12465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ewirtschaftliches Institut, Universität zu Köln</a:t>
            </a:r>
            <a:endParaRPr lang="de-DE" sz="9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3915752"/>
            <a:ext cx="5438043" cy="512961"/>
          </a:xfrm>
        </p:spPr>
        <p:txBody>
          <a:bodyPr anchor="b" anchorCtr="0"/>
          <a:lstStyle>
            <a:lvl1pPr>
              <a:lnSpc>
                <a:spcPts val="2000"/>
              </a:lnSpc>
              <a:defRPr sz="1400"/>
            </a:lvl1pPr>
            <a:lvl2pPr marL="0" indent="0">
              <a:lnSpc>
                <a:spcPts val="2400"/>
              </a:lnSpc>
              <a:buNone/>
              <a:defRPr/>
            </a:lvl2pPr>
            <a:lvl3pPr marL="0" indent="0">
              <a:lnSpc>
                <a:spcPts val="2400"/>
              </a:lnSpc>
              <a:buNone/>
              <a:defRPr/>
            </a:lvl3pPr>
            <a:lvl4pPr>
              <a:lnSpc>
                <a:spcPts val="2400"/>
              </a:lnSpc>
              <a:defRPr sz="1800"/>
            </a:lvl4pPr>
            <a:lvl5pPr marL="0" indent="0">
              <a:lnSpc>
                <a:spcPts val="2400"/>
              </a:lnSpc>
              <a:buNone/>
              <a:defRPr sz="1800"/>
            </a:lvl5pPr>
          </a:lstStyle>
          <a:p>
            <a:pPr lvl="0"/>
            <a:r>
              <a:rPr lang="de-DE" dirty="0" smtClean="0"/>
              <a:t>Datum | Autor</a:t>
            </a:r>
          </a:p>
          <a:p>
            <a:pPr lvl="0"/>
            <a:r>
              <a:rPr lang="de-DE" dirty="0" smtClean="0"/>
              <a:t>Veranstaltungsor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1553287"/>
            <a:ext cx="7313734" cy="948978"/>
          </a:xfrm>
        </p:spPr>
        <p:txBody>
          <a:bodyPr anchor="b" anchorCtr="0">
            <a:noAutofit/>
          </a:bodyPr>
          <a:lstStyle>
            <a:lvl1pPr>
              <a:lnSpc>
                <a:spcPts val="3800"/>
              </a:lnSpc>
              <a:defRPr sz="30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11" name="Grafik 10" descr="EWI_Punkte-Leiste_long.png"/>
          <p:cNvPicPr>
            <a:picLocks noChangeAspect="1"/>
          </p:cNvPicPr>
          <p:nvPr/>
        </p:nvPicPr>
        <p:blipFill>
          <a:blip r:embed="rId3"/>
          <a:srcRect l="110"/>
          <a:stretch>
            <a:fillRect/>
          </a:stretch>
        </p:blipFill>
        <p:spPr>
          <a:xfrm>
            <a:off x="9524" y="4576679"/>
            <a:ext cx="8623332" cy="1753348"/>
          </a:xfrm>
          <a:prstGeom prst="rect">
            <a:avLst/>
          </a:prstGeom>
        </p:spPr>
      </p:pic>
      <p:pic>
        <p:nvPicPr>
          <p:cNvPr id="24" name="Grafik 23" descr="EWI_Logo_Picture_RG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9763" y="358998"/>
            <a:ext cx="1350000" cy="104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077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725" y="6490114"/>
            <a:ext cx="5790230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720725" y="839788"/>
            <a:ext cx="7883525" cy="1333698"/>
          </a:xfrm>
        </p:spPr>
        <p:txBody>
          <a:bodyPr/>
          <a:lstStyle>
            <a:lvl1pPr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ts val="3200"/>
              </a:lnSpc>
              <a:spcBef>
                <a:spcPts val="0"/>
              </a:spcBef>
              <a:spcAft>
                <a:spcPts val="2000"/>
              </a:spcAft>
              <a:buNone/>
              <a:defRPr sz="2400"/>
            </a:lvl2pPr>
            <a:lvl3pPr marL="0" indent="0">
              <a:lnSpc>
                <a:spcPts val="2000"/>
              </a:lnSpc>
              <a:buNone/>
              <a:defRPr sz="1400"/>
            </a:lvl3pPr>
            <a:lvl4pPr>
              <a:lnSpc>
                <a:spcPts val="3200"/>
              </a:lnSpc>
              <a:defRPr sz="2400"/>
            </a:lvl4pPr>
            <a:lvl5pPr marL="0" indent="0">
              <a:lnSpc>
                <a:spcPts val="3200"/>
              </a:lnSpc>
              <a:buNone/>
              <a:tabLst/>
              <a:defRPr sz="2400"/>
            </a:lvl5pPr>
            <a:lvl6pPr marL="0" indent="0">
              <a:lnSpc>
                <a:spcPts val="3200"/>
              </a:lnSpc>
              <a:buNone/>
              <a:defRPr sz="2400"/>
            </a:lvl6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pic>
        <p:nvPicPr>
          <p:cNvPr id="7" name="Grafik 6" descr="EWI_Logo_Text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6701" y="431913"/>
            <a:ext cx="722311" cy="298700"/>
          </a:xfrm>
          <a:prstGeom prst="rect">
            <a:avLst/>
          </a:prstGeom>
        </p:spPr>
      </p:pic>
      <p:pic>
        <p:nvPicPr>
          <p:cNvPr id="8" name="Grafik 7" descr="EWI_Punkte-Leiste_long.png"/>
          <p:cNvPicPr>
            <a:picLocks noChangeAspect="1"/>
          </p:cNvPicPr>
          <p:nvPr/>
        </p:nvPicPr>
        <p:blipFill>
          <a:blip r:embed="rId3"/>
          <a:srcRect l="110"/>
          <a:stretch>
            <a:fillRect/>
          </a:stretch>
        </p:blipFill>
        <p:spPr>
          <a:xfrm>
            <a:off x="9524" y="4576679"/>
            <a:ext cx="8623332" cy="175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238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48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27025" y="1133480"/>
            <a:ext cx="8497888" cy="1409695"/>
          </a:xfrm>
        </p:spPr>
        <p:txBody>
          <a:bodyPr anchor="b" anchorCtr="0"/>
          <a:lstStyle>
            <a:lvl1pPr>
              <a:defRPr sz="2800" b="1">
                <a:solidFill>
                  <a:srgbClr val="E40019"/>
                </a:solidFill>
                <a:latin typeface="+mn-lt"/>
              </a:defRPr>
            </a:lvl1pPr>
          </a:lstStyle>
          <a:p>
            <a:r>
              <a:rPr lang="de-DE" noProof="0" dirty="0" smtClean="0"/>
              <a:t>Titelmasterformat </a:t>
            </a:r>
            <a:br>
              <a:rPr lang="de-DE" noProof="0" dirty="0" smtClean="0"/>
            </a:br>
            <a:r>
              <a:rPr lang="de-DE" noProof="0" dirty="0" smtClean="0"/>
              <a:t>durch Klicken bearbeiten</a:t>
            </a:r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0" y="6524625"/>
            <a:ext cx="9144000" cy="333375"/>
          </a:xfrm>
          <a:prstGeom prst="rect">
            <a:avLst/>
          </a:prstGeom>
          <a:solidFill>
            <a:srgbClr val="B0B0B0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1600" dirty="0" err="1" smtClean="0"/>
          </a:p>
        </p:txBody>
      </p:sp>
      <p:sp>
        <p:nvSpPr>
          <p:cNvPr id="17" name="Datumsplatzhalter 43"/>
          <p:cNvSpPr>
            <a:spLocks noGrp="1"/>
          </p:cNvSpPr>
          <p:nvPr>
            <p:ph type="dt" sz="half" idx="2"/>
          </p:nvPr>
        </p:nvSpPr>
        <p:spPr bwMode="gray">
          <a:xfrm>
            <a:off x="328613" y="3184516"/>
            <a:ext cx="4044950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lang="de-DE" sz="1600" b="0" i="0" kern="1200" noProof="0" smtClean="0">
                <a:solidFill>
                  <a:srgbClr val="808080"/>
                </a:solidFill>
                <a:latin typeface="+mn-lt"/>
                <a:ea typeface="+mn-ea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0" name="Bildplatzhalter 18"/>
          <p:cNvSpPr>
            <a:spLocks noGrp="1"/>
          </p:cNvSpPr>
          <p:nvPr>
            <p:ph type="pic" sz="quarter" idx="10"/>
          </p:nvPr>
        </p:nvSpPr>
        <p:spPr bwMode="gray">
          <a:xfrm>
            <a:off x="-10800" y="3649664"/>
            <a:ext cx="9162000" cy="2874961"/>
          </a:xfr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27025" y="2705505"/>
            <a:ext cx="4046538" cy="456796"/>
          </a:xfrm>
        </p:spPr>
        <p:txBody>
          <a:bodyPr anchor="b" anchorCtr="0"/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 b="0" i="0">
                <a:solidFill>
                  <a:srgbClr val="80808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</a:t>
            </a:r>
            <a:br>
              <a:rPr lang="de-DE" noProof="0" dirty="0" smtClean="0"/>
            </a:br>
            <a:r>
              <a:rPr lang="de-DE" noProof="0" dirty="0" smtClean="0"/>
              <a:t>Untertitelmasters durch Klicken bearbeiten</a:t>
            </a:r>
            <a:endParaRPr lang="de-DE" noProof="0" dirty="0"/>
          </a:p>
        </p:txBody>
      </p:sp>
      <p:pic>
        <p:nvPicPr>
          <p:cNvPr id="10" name="Grafik 9" descr="Logo_Titel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10376" y="158750"/>
            <a:ext cx="2033626" cy="808330"/>
          </a:xfrm>
          <a:prstGeom prst="rect">
            <a:avLst/>
          </a:prstGeom>
        </p:spPr>
      </p:pic>
      <p:pic>
        <p:nvPicPr>
          <p:cNvPr id="13" name="Grafik 12" descr="Verlauf_Titel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-19164"/>
            <a:ext cx="9144000" cy="1572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Kunden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15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27025" y="1133480"/>
            <a:ext cx="8497888" cy="1409695"/>
          </a:xfrm>
        </p:spPr>
        <p:txBody>
          <a:bodyPr anchor="b" anchorCtr="0"/>
          <a:lstStyle>
            <a:lvl1pPr>
              <a:defRPr sz="2800" b="1">
                <a:solidFill>
                  <a:srgbClr val="E40019"/>
                </a:solidFill>
                <a:latin typeface="+mn-lt"/>
              </a:defRPr>
            </a:lvl1pPr>
          </a:lstStyle>
          <a:p>
            <a:r>
              <a:rPr lang="de-DE" noProof="0" dirty="0" smtClean="0"/>
              <a:t>Titelmasterformat </a:t>
            </a:r>
            <a:br>
              <a:rPr lang="de-DE" noProof="0" dirty="0" smtClean="0"/>
            </a:br>
            <a:r>
              <a:rPr lang="de-DE" noProof="0" dirty="0" smtClean="0"/>
              <a:t>durch Klicken bearbeiten</a:t>
            </a:r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0" y="6524625"/>
            <a:ext cx="9144000" cy="333375"/>
          </a:xfrm>
          <a:prstGeom prst="rect">
            <a:avLst/>
          </a:prstGeom>
          <a:solidFill>
            <a:srgbClr val="B0B0B0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1600" dirty="0" err="1" smtClean="0"/>
          </a:p>
        </p:txBody>
      </p:sp>
      <p:sp>
        <p:nvSpPr>
          <p:cNvPr id="17" name="Datumsplatzhalter 43"/>
          <p:cNvSpPr>
            <a:spLocks noGrp="1"/>
          </p:cNvSpPr>
          <p:nvPr>
            <p:ph type="dt" sz="half" idx="2"/>
          </p:nvPr>
        </p:nvSpPr>
        <p:spPr bwMode="gray">
          <a:xfrm>
            <a:off x="328613" y="3184516"/>
            <a:ext cx="4044950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lang="de-DE" sz="1600" b="0" i="0" kern="1200" noProof="0" smtClean="0">
                <a:solidFill>
                  <a:srgbClr val="808080"/>
                </a:solidFill>
                <a:latin typeface="+mn-lt"/>
                <a:ea typeface="+mn-ea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27025" y="2705505"/>
            <a:ext cx="4046538" cy="456796"/>
          </a:xfrm>
        </p:spPr>
        <p:txBody>
          <a:bodyPr anchor="b" anchorCtr="0"/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 b="0" i="0">
                <a:solidFill>
                  <a:srgbClr val="80808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</a:t>
            </a:r>
            <a:br>
              <a:rPr lang="de-DE" noProof="0" dirty="0" smtClean="0"/>
            </a:br>
            <a:r>
              <a:rPr lang="de-DE" noProof="0" dirty="0" smtClean="0"/>
              <a:t>Untertitelmasters durch Klicken bearbeiten</a:t>
            </a:r>
            <a:endParaRPr lang="de-DE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1" hasCustomPrompt="1"/>
          </p:nvPr>
        </p:nvSpPr>
        <p:spPr>
          <a:xfrm>
            <a:off x="327025" y="288925"/>
            <a:ext cx="2120900" cy="519113"/>
          </a:xfrm>
          <a:solidFill>
            <a:schemeClr val="bg1"/>
          </a:solidFill>
          <a:ln>
            <a:noFill/>
          </a:ln>
        </p:spPr>
        <p:txBody>
          <a:bodyPr anchor="ctr"/>
          <a:lstStyle>
            <a:lvl1pPr algn="ctr">
              <a:defRPr sz="1200" baseline="0"/>
            </a:lvl1pPr>
          </a:lstStyle>
          <a:p>
            <a:r>
              <a:rPr lang="de-DE" dirty="0" smtClean="0"/>
              <a:t>Kundenlogo durch Klicken</a:t>
            </a:r>
            <a:br>
              <a:rPr lang="de-DE" dirty="0" smtClean="0"/>
            </a:br>
            <a:r>
              <a:rPr lang="de-DE" dirty="0" smtClean="0"/>
              <a:t>hinzufügen</a:t>
            </a:r>
            <a:endParaRPr lang="de-DE" dirty="0"/>
          </a:p>
        </p:txBody>
      </p:sp>
      <p:sp>
        <p:nvSpPr>
          <p:cNvPr id="15" name="Bildplatzhalter 18"/>
          <p:cNvSpPr>
            <a:spLocks noGrp="1"/>
          </p:cNvSpPr>
          <p:nvPr>
            <p:ph type="pic" sz="quarter" idx="10"/>
          </p:nvPr>
        </p:nvSpPr>
        <p:spPr bwMode="gray">
          <a:xfrm>
            <a:off x="-10800" y="3649664"/>
            <a:ext cx="9162000" cy="2874961"/>
          </a:xfr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pic>
        <p:nvPicPr>
          <p:cNvPr id="14" name="Grafik 13" descr="Logo_Titel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10376" y="158750"/>
            <a:ext cx="2033626" cy="808330"/>
          </a:xfrm>
          <a:prstGeom prst="rect">
            <a:avLst/>
          </a:prstGeom>
        </p:spPr>
      </p:pic>
      <p:pic>
        <p:nvPicPr>
          <p:cNvPr id="16" name="Grafik 15" descr="Verlauf_Titel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-19164"/>
            <a:ext cx="9144000" cy="1572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mehrere Red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27025" y="1133480"/>
            <a:ext cx="8497888" cy="1409695"/>
          </a:xfrm>
        </p:spPr>
        <p:txBody>
          <a:bodyPr anchor="b" anchorCtr="0"/>
          <a:lstStyle>
            <a:lvl1pPr>
              <a:defRPr sz="2800" b="1">
                <a:solidFill>
                  <a:srgbClr val="E40019"/>
                </a:solidFill>
                <a:latin typeface="+mn-lt"/>
              </a:defRPr>
            </a:lvl1pPr>
          </a:lstStyle>
          <a:p>
            <a:r>
              <a:rPr lang="de-DE" noProof="0" dirty="0" smtClean="0"/>
              <a:t>Titelmasterformat </a:t>
            </a:r>
            <a:br>
              <a:rPr lang="de-DE" noProof="0" dirty="0" smtClean="0"/>
            </a:br>
            <a:r>
              <a:rPr lang="de-DE" noProof="0" dirty="0" smtClean="0"/>
              <a:t>durch Klicken bearbeiten</a:t>
            </a:r>
            <a:endParaRPr lang="de-DE" noProof="0" dirty="0"/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0" y="6524625"/>
            <a:ext cx="9144000" cy="333375"/>
          </a:xfrm>
          <a:prstGeom prst="rect">
            <a:avLst/>
          </a:prstGeom>
          <a:solidFill>
            <a:srgbClr val="B0B0B0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1600" dirty="0" err="1" smtClean="0"/>
          </a:p>
        </p:txBody>
      </p:sp>
      <p:sp>
        <p:nvSpPr>
          <p:cNvPr id="17" name="Datumsplatzhalter 43"/>
          <p:cNvSpPr>
            <a:spLocks noGrp="1"/>
          </p:cNvSpPr>
          <p:nvPr>
            <p:ph type="dt" sz="half" idx="2"/>
          </p:nvPr>
        </p:nvSpPr>
        <p:spPr bwMode="gray">
          <a:xfrm>
            <a:off x="6840538" y="2705505"/>
            <a:ext cx="1984375" cy="365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FontTx/>
              <a:buNone/>
              <a:defRPr lang="de-DE" sz="1600" b="0" i="0" kern="1200" noProof="0" smtClean="0">
                <a:solidFill>
                  <a:srgbClr val="808080"/>
                </a:solidFill>
                <a:latin typeface="+mn-lt"/>
                <a:ea typeface="+mn-ea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27025" y="2705505"/>
            <a:ext cx="1966595" cy="456796"/>
          </a:xfrm>
        </p:spPr>
        <p:txBody>
          <a:bodyPr anchor="t" anchorCtr="0"/>
          <a:lstStyle>
            <a:lvl1pPr marL="0" indent="0" algn="l">
              <a:lnSpc>
                <a:spcPts val="1800"/>
              </a:lnSpc>
              <a:spcBef>
                <a:spcPts val="0"/>
              </a:spcBef>
              <a:buNone/>
              <a:defRPr sz="1600" b="0" i="0">
                <a:solidFill>
                  <a:srgbClr val="808080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</a:t>
            </a:r>
            <a:br>
              <a:rPr lang="de-DE" noProof="0" dirty="0" smtClean="0"/>
            </a:br>
            <a:r>
              <a:rPr lang="de-DE" noProof="0" dirty="0" smtClean="0"/>
              <a:t>Untertitelmasters durch Klicken bearbeiten</a:t>
            </a:r>
            <a:endParaRPr lang="de-DE" noProof="0" dirty="0"/>
          </a:p>
        </p:txBody>
      </p:sp>
      <p:sp>
        <p:nvSpPr>
          <p:cNvPr id="13" name="Bildplatzhalter 18"/>
          <p:cNvSpPr>
            <a:spLocks noGrp="1"/>
          </p:cNvSpPr>
          <p:nvPr>
            <p:ph type="pic" sz="quarter" idx="10"/>
          </p:nvPr>
        </p:nvSpPr>
        <p:spPr bwMode="gray">
          <a:xfrm>
            <a:off x="-10800" y="3649664"/>
            <a:ext cx="9162000" cy="2874961"/>
          </a:xfr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pic>
        <p:nvPicPr>
          <p:cNvPr id="10" name="Grafik 9" descr="Logo_Titel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10376" y="158750"/>
            <a:ext cx="2033626" cy="808330"/>
          </a:xfrm>
          <a:prstGeom prst="rect">
            <a:avLst/>
          </a:prstGeom>
        </p:spPr>
      </p:pic>
      <p:pic>
        <p:nvPicPr>
          <p:cNvPr id="14" name="Grafik 13" descr="Verlauf_Titel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-19164"/>
            <a:ext cx="9144000" cy="1572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7025" y="216000"/>
            <a:ext cx="6503287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 bwMode="gray">
          <a:xfrm>
            <a:off x="328613" y="1125538"/>
            <a:ext cx="8496300" cy="512445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7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 bwMode="gray">
          <a:xfrm>
            <a:off x="4795838" y="1125537"/>
            <a:ext cx="4029075" cy="5133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masterformate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 hasCustomPrompt="1"/>
          </p:nvPr>
        </p:nvSpPr>
        <p:spPr bwMode="gray">
          <a:xfrm>
            <a:off x="328612" y="1125538"/>
            <a:ext cx="4027355" cy="5133975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masterformate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7025" y="216000"/>
            <a:ext cx="6503287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63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 bwMode="gray">
          <a:xfrm>
            <a:off x="6215061" y="1125537"/>
            <a:ext cx="2609852" cy="5133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masterformate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 hasCustomPrompt="1"/>
          </p:nvPr>
        </p:nvSpPr>
        <p:spPr bwMode="gray">
          <a:xfrm>
            <a:off x="328611" y="1125538"/>
            <a:ext cx="5464175" cy="5133975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masterformate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27025" y="216000"/>
            <a:ext cx="6503287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graue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 Headline 1 Spal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613" y="1417638"/>
            <a:ext cx="8496300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 Headline 1 Spalte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16"/>
          <p:cNvSpPr>
            <a:spLocks noGrp="1"/>
          </p:cNvSpPr>
          <p:nvPr>
            <p:ph sz="quarter" idx="13"/>
          </p:nvPr>
        </p:nvSpPr>
        <p:spPr bwMode="gray">
          <a:xfrm>
            <a:off x="328613" y="1419543"/>
            <a:ext cx="8496300" cy="48280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720724" y="2042674"/>
            <a:ext cx="7883525" cy="769441"/>
          </a:xfrm>
        </p:spPr>
        <p:txBody>
          <a:bodyPr/>
          <a:lstStyle>
            <a:lvl1pPr marL="252000" indent="-252000">
              <a:lnSpc>
                <a:spcPts val="3000"/>
              </a:lnSpc>
              <a:buFont typeface="+mj-lt"/>
              <a:buAutoNum type="arabicPeriod"/>
              <a:defRPr b="1">
                <a:solidFill>
                  <a:schemeClr val="tx2"/>
                </a:solidFill>
              </a:defRPr>
            </a:lvl1pPr>
            <a:lvl2pPr marL="504000" indent="-252000">
              <a:lnSpc>
                <a:spcPts val="3000"/>
              </a:lnSpc>
              <a:buClr>
                <a:schemeClr val="tx2"/>
              </a:buClr>
              <a:buFont typeface="+mj-lt"/>
              <a:buAutoNum type="alphaLcPeriod"/>
              <a:defRPr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20726" y="1252538"/>
            <a:ext cx="7883524" cy="410369"/>
          </a:xfrm>
        </p:spPr>
        <p:txBody>
          <a:bodyPr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1389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 Headline 2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613" y="1125538"/>
            <a:ext cx="4044950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5838" y="1125538"/>
            <a:ext cx="4021237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613" y="1417638"/>
            <a:ext cx="4044950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5839" y="1417638"/>
            <a:ext cx="4021237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 Headline 2 Spalten Tex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612" y="1125538"/>
            <a:ext cx="8496301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612" y="1417638"/>
            <a:ext cx="5464173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346826" y="1417637"/>
            <a:ext cx="2478088" cy="4832350"/>
          </a:xfrm>
        </p:spPr>
        <p:txBody>
          <a:bodyPr/>
          <a:lstStyle/>
          <a:p>
            <a:r>
              <a:rPr lang="de-DE" dirty="0" smtClean="0"/>
              <a:t> </a:t>
            </a:r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 Headline 2 Spalten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16"/>
          <p:cNvSpPr>
            <a:spLocks noGrp="1"/>
          </p:cNvSpPr>
          <p:nvPr>
            <p:ph sz="quarter" idx="15"/>
          </p:nvPr>
        </p:nvSpPr>
        <p:spPr bwMode="gray">
          <a:xfrm>
            <a:off x="4795838" y="1417637"/>
            <a:ext cx="4029075" cy="4830445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8" name="Inhaltsplatzhalter 16"/>
          <p:cNvSpPr>
            <a:spLocks noGrp="1"/>
          </p:cNvSpPr>
          <p:nvPr>
            <p:ph sz="quarter" idx="13"/>
          </p:nvPr>
        </p:nvSpPr>
        <p:spPr bwMode="gray">
          <a:xfrm>
            <a:off x="328613" y="1417637"/>
            <a:ext cx="4044950" cy="4828065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613" y="1125538"/>
            <a:ext cx="4044950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5838" y="1125538"/>
            <a:ext cx="4021237" cy="229393"/>
          </a:xfrm>
        </p:spPr>
        <p:txBody>
          <a:bodyPr/>
          <a:lstStyle>
            <a:lvl1pPr>
              <a:defRPr>
                <a:solidFill>
                  <a:srgbClr val="69696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rote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 Headline eine Spal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613" y="1417638"/>
            <a:ext cx="8496300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te Headline eine Spalte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16"/>
          <p:cNvSpPr>
            <a:spLocks noGrp="1"/>
          </p:cNvSpPr>
          <p:nvPr>
            <p:ph sz="quarter" idx="13"/>
          </p:nvPr>
        </p:nvSpPr>
        <p:spPr bwMode="gray">
          <a:xfrm>
            <a:off x="328613" y="1419543"/>
            <a:ext cx="8496300" cy="4828063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328613" y="1125538"/>
            <a:ext cx="8496300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 Headline zwei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613" y="1125538"/>
            <a:ext cx="4044950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5838" y="1125538"/>
            <a:ext cx="4021237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613" y="1417638"/>
            <a:ext cx="4044950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5839" y="1417638"/>
            <a:ext cx="4021237" cy="4832350"/>
          </a:xfrm>
        </p:spPr>
        <p:txBody>
          <a:bodyPr/>
          <a:lstStyle>
            <a:lvl1pPr>
              <a:defRPr b="0"/>
            </a:lvl1pPr>
          </a:lstStyle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 Headline zwei Spalten Obje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16"/>
          <p:cNvSpPr>
            <a:spLocks noGrp="1"/>
          </p:cNvSpPr>
          <p:nvPr>
            <p:ph sz="quarter" idx="15"/>
          </p:nvPr>
        </p:nvSpPr>
        <p:spPr bwMode="gray">
          <a:xfrm>
            <a:off x="4795838" y="1417637"/>
            <a:ext cx="4021237" cy="4830445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8" name="Inhaltsplatzhalter 16"/>
          <p:cNvSpPr>
            <a:spLocks noGrp="1"/>
          </p:cNvSpPr>
          <p:nvPr>
            <p:ph sz="quarter" idx="13"/>
          </p:nvPr>
        </p:nvSpPr>
        <p:spPr bwMode="gray">
          <a:xfrm>
            <a:off x="328613" y="1417637"/>
            <a:ext cx="4044950" cy="4828065"/>
          </a:xfrm>
        </p:spPr>
        <p:txBody>
          <a:bodyPr/>
          <a:lstStyle>
            <a:lvl2pPr>
              <a:defRPr b="0"/>
            </a:lvl2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 bwMode="gray">
          <a:xfrm>
            <a:off x="327024" y="215826"/>
            <a:ext cx="6513513" cy="32400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613" y="1125538"/>
            <a:ext cx="4044950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5838" y="1125538"/>
            <a:ext cx="4021237" cy="229393"/>
          </a:xfrm>
        </p:spPr>
        <p:txBody>
          <a:bodyPr/>
          <a:lstStyle>
            <a:lvl1pPr>
              <a:defRPr>
                <a:solidFill>
                  <a:srgbClr val="E40019"/>
                </a:solidFill>
              </a:defRPr>
            </a:lvl1pPr>
          </a:lstStyle>
          <a:p>
            <a:pPr lvl="0"/>
            <a:r>
              <a:rPr lang="de-DE" dirty="0" smtClean="0"/>
              <a:t>Textmasterformate bearbeiten</a:t>
            </a:r>
            <a:endParaRPr lang="de-DE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 hidden="1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108000" tIns="108000" rIns="144000" bIns="7200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ts val="1600"/>
              <a:buFont typeface="Wingdings" pitchFamily="2" charset="2"/>
              <a:buChar char="§"/>
              <a:tabLst/>
            </a:pPr>
            <a:endParaRPr kumimoji="0" lang="de-DE" b="0" i="0" u="none" strike="noStrike" cap="none" normalizeH="0" baseline="0" noProof="1" smtClean="0">
              <a:ln>
                <a:noFill/>
              </a:ln>
              <a:solidFill>
                <a:srgbClr val="696969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er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36695" y="6477106"/>
            <a:ext cx="667555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00" b="1">
                <a:solidFill>
                  <a:schemeClr val="tx2"/>
                </a:solidFill>
                <a:latin typeface="+mn-lt"/>
              </a:defRPr>
            </a:lvl1pPr>
          </a:lstStyle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725" y="6490114"/>
            <a:ext cx="5790230" cy="1384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720725" y="839788"/>
            <a:ext cx="7883525" cy="820738"/>
          </a:xfrm>
        </p:spPr>
        <p:txBody>
          <a:bodyPr/>
          <a:lstStyle>
            <a:lvl1pPr>
              <a:lnSpc>
                <a:spcPts val="3200"/>
              </a:lnSpc>
              <a:spcBef>
                <a:spcPts val="0"/>
              </a:spcBef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ts val="3200"/>
              </a:lnSpc>
              <a:spcBef>
                <a:spcPts val="0"/>
              </a:spcBef>
              <a:buNone/>
              <a:defRPr sz="2400"/>
            </a:lvl2pPr>
            <a:lvl3pPr marL="0" indent="0">
              <a:lnSpc>
                <a:spcPts val="3200"/>
              </a:lnSpc>
              <a:buNone/>
              <a:defRPr sz="2400"/>
            </a:lvl3pPr>
            <a:lvl4pPr>
              <a:lnSpc>
                <a:spcPts val="3200"/>
              </a:lnSpc>
              <a:defRPr sz="2400"/>
            </a:lvl4pPr>
            <a:lvl5pPr marL="0" indent="0">
              <a:lnSpc>
                <a:spcPts val="3200"/>
              </a:lnSpc>
              <a:buNone/>
              <a:tabLst/>
              <a:defRPr sz="2400"/>
            </a:lvl5pPr>
            <a:lvl6pPr marL="0" indent="0">
              <a:lnSpc>
                <a:spcPts val="3200"/>
              </a:lnSpc>
              <a:buNone/>
              <a:defRPr sz="2400"/>
            </a:lvl6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pic>
        <p:nvPicPr>
          <p:cNvPr id="8" name="Grafik 7" descr="EWI_Punkte-Leiste_long.png"/>
          <p:cNvPicPr>
            <a:picLocks noChangeAspect="1"/>
          </p:cNvPicPr>
          <p:nvPr/>
        </p:nvPicPr>
        <p:blipFill>
          <a:blip r:embed="rId2"/>
          <a:srcRect l="110"/>
          <a:stretch>
            <a:fillRect/>
          </a:stretch>
        </p:blipFill>
        <p:spPr>
          <a:xfrm>
            <a:off x="9524" y="4576679"/>
            <a:ext cx="8623332" cy="1753348"/>
          </a:xfrm>
          <a:prstGeom prst="rect">
            <a:avLst/>
          </a:prstGeom>
        </p:spPr>
      </p:pic>
      <p:pic>
        <p:nvPicPr>
          <p:cNvPr id="9" name="Grafik 8" descr="EWI_Logo_Text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6701" y="431913"/>
            <a:ext cx="722311" cy="29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277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aupt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27025" y="216000"/>
            <a:ext cx="6503287" cy="324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91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8667002" y="6616555"/>
            <a:ext cx="299155" cy="151200"/>
          </a:xfrm>
          <a:prstGeom prst="rect">
            <a:avLst/>
          </a:prstGeom>
        </p:spPr>
        <p:txBody>
          <a:bodyPr vert="horz" wrap="none" lIns="0" tIns="45720" rIns="0" bIns="45720" rtlCol="0" anchor="ctr"/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724" y="1922463"/>
            <a:ext cx="7883525" cy="4376737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2171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2"/>
          </p:nvPr>
        </p:nvSpPr>
        <p:spPr>
          <a:xfrm>
            <a:off x="720724" y="1922463"/>
            <a:ext cx="7883525" cy="4376737"/>
          </a:xfrm>
        </p:spPr>
        <p:txBody>
          <a:bodyPr>
            <a:noAutofit/>
          </a:bodyPr>
          <a:lstStyle/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0500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720724" y="1922463"/>
            <a:ext cx="7883525" cy="4376737"/>
          </a:xfrm>
        </p:spPr>
        <p:txBody>
          <a:bodyPr>
            <a:noAutofit/>
          </a:bodyPr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119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SmartArt-Platzhalter 5"/>
          <p:cNvSpPr>
            <a:spLocks noGrp="1"/>
          </p:cNvSpPr>
          <p:nvPr>
            <p:ph type="dgm" sz="quarter" idx="12"/>
          </p:nvPr>
        </p:nvSpPr>
        <p:spPr>
          <a:xfrm>
            <a:off x="720724" y="1922463"/>
            <a:ext cx="7883525" cy="4376737"/>
          </a:xfrm>
        </p:spPr>
        <p:txBody>
          <a:bodyPr>
            <a:noAutofit/>
          </a:bodyPr>
          <a:lstStyle/>
          <a:p>
            <a:r>
              <a:rPr lang="de-DE" smtClean="0"/>
              <a:t>Klicken Sie auf das Symbol, um die SmartArt-Grafik hinzu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200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/>
          </p:nvPr>
        </p:nvSpPr>
        <p:spPr>
          <a:xfrm>
            <a:off x="720724" y="1922463"/>
            <a:ext cx="7883525" cy="4376737"/>
          </a:xfrm>
        </p:spPr>
        <p:txBody>
          <a:bodyPr>
            <a:noAutofit/>
          </a:bodyPr>
          <a:lstStyle/>
          <a:p>
            <a:r>
              <a:rPr lang="de-DE" smtClean="0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5594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720724" y="1922463"/>
            <a:ext cx="7883525" cy="437673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886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726" y="839788"/>
            <a:ext cx="7883524" cy="8207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725" y="1922463"/>
            <a:ext cx="7883525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725" y="6490114"/>
            <a:ext cx="5790230" cy="1384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36695" y="6484249"/>
            <a:ext cx="667555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sz="1000" b="1">
                <a:solidFill>
                  <a:schemeClr val="tx2"/>
                </a:solidFill>
                <a:latin typeface="+mn-lt"/>
              </a:defRPr>
            </a:lvl1pPr>
          </a:lstStyle>
          <a:p>
            <a:fld id="{63FFF309-7B43-4697-A594-9877CC163A2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4" name="Grafik 13" descr="EWI_Logo_Text_RGB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886701" y="431913"/>
            <a:ext cx="722311" cy="298700"/>
          </a:xfrm>
          <a:prstGeom prst="rect">
            <a:avLst/>
          </a:prstGeom>
        </p:spPr>
      </p:pic>
      <p:pic>
        <p:nvPicPr>
          <p:cNvPr id="16" name="Grafik 15" descr="EWI_Punkte-Leiste_short.png"/>
          <p:cNvPicPr>
            <a:picLocks noChangeAspect="1"/>
          </p:cNvPicPr>
          <p:nvPr/>
        </p:nvPicPr>
        <p:blipFill>
          <a:blip r:embed="rId33"/>
          <a:srcRect l="2203"/>
          <a:stretch>
            <a:fillRect/>
          </a:stretch>
        </p:blipFill>
        <p:spPr>
          <a:xfrm>
            <a:off x="9525" y="4575956"/>
            <a:ext cx="422726" cy="175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80655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757" r:id="rId11"/>
    <p:sldLayoutId id="2147483824" r:id="rId12"/>
    <p:sldLayoutId id="2147483780" r:id="rId13"/>
    <p:sldLayoutId id="2147483700" r:id="rId14"/>
    <p:sldLayoutId id="2147483701" r:id="rId15"/>
    <p:sldLayoutId id="2147483822" r:id="rId16"/>
    <p:sldLayoutId id="2147483762" r:id="rId17"/>
    <p:sldLayoutId id="2147483819" r:id="rId18"/>
    <p:sldLayoutId id="2147483817" r:id="rId19"/>
    <p:sldLayoutId id="2147483820" r:id="rId20"/>
    <p:sldLayoutId id="2147483823" r:id="rId21"/>
    <p:sldLayoutId id="2147483818" r:id="rId22"/>
    <p:sldLayoutId id="2147483752" r:id="rId23"/>
    <p:sldLayoutId id="2147483756" r:id="rId24"/>
    <p:sldLayoutId id="2147483758" r:id="rId25"/>
    <p:sldLayoutId id="2147483755" r:id="rId26"/>
    <p:sldLayoutId id="2147483753" r:id="rId27"/>
    <p:sldLayoutId id="2147483821" r:id="rId28"/>
    <p:sldLayoutId id="2147483779" r:id="rId29"/>
    <p:sldLayoutId id="2147483826" r:id="rId3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14400" rtl="0" eaLnBrk="1" latinLnBrk="0" hangingPunct="1">
        <a:lnSpc>
          <a:spcPts val="2400"/>
        </a:lnSpc>
        <a:spcBef>
          <a:spcPts val="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ts val="2000"/>
        </a:lnSpc>
        <a:spcBef>
          <a:spcPts val="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00" indent="-28800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00" indent="-288000" algn="l" defTabSz="914400" rtl="0" eaLnBrk="1" latinLnBrk="0" hangingPunct="1">
        <a:lnSpc>
          <a:spcPts val="2000"/>
        </a:lnSpc>
        <a:spcBef>
          <a:spcPts val="0"/>
        </a:spcBef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dietmar.lindenberger@uni-koeln.de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971460" y="4195508"/>
            <a:ext cx="6652350" cy="233205"/>
          </a:xfrm>
        </p:spPr>
        <p:txBody>
          <a:bodyPr/>
          <a:lstStyle/>
          <a:p>
            <a:r>
              <a:rPr lang="de-DE" dirty="0" smtClean="0"/>
              <a:t>Arbeitskreis Energie in der DPG, Frühjahrssitzung, Bad Honnef, 19.04.2018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971460" y="1717767"/>
            <a:ext cx="8023950" cy="948978"/>
          </a:xfrm>
        </p:spPr>
        <p:txBody>
          <a:bodyPr/>
          <a:lstStyle/>
          <a:p>
            <a:r>
              <a:rPr lang="de-DE" sz="2400" dirty="0" smtClean="0"/>
              <a:t>Volkswirtschaftliche Einordnung des Beitrags </a:t>
            </a:r>
            <a:br>
              <a:rPr lang="de-DE" sz="2400" dirty="0" smtClean="0"/>
            </a:br>
            <a:r>
              <a:rPr lang="de-DE" sz="2400" dirty="0" smtClean="0"/>
              <a:t>der Kohle zur Energietransformation</a:t>
            </a:r>
            <a:endParaRPr lang="de-DE" sz="2400" dirty="0"/>
          </a:p>
        </p:txBody>
      </p:sp>
      <p:sp>
        <p:nvSpPr>
          <p:cNvPr id="5" name="Textplatzhalter 2"/>
          <p:cNvSpPr txBox="1">
            <a:spLocks/>
          </p:cNvSpPr>
          <p:nvPr/>
        </p:nvSpPr>
        <p:spPr>
          <a:xfrm>
            <a:off x="963840" y="2975893"/>
            <a:ext cx="6652350" cy="25648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+mj-lt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buFont typeface="+mj-lt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00" indent="-2880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1800" dirty="0" smtClean="0"/>
              <a:t>PD Dr. Dietmar Lindenberger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76839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89329" y="505889"/>
            <a:ext cx="7883524" cy="785701"/>
          </a:xfrm>
        </p:spPr>
        <p:txBody>
          <a:bodyPr>
            <a:noAutofit/>
          </a:bodyPr>
          <a:lstStyle/>
          <a:p>
            <a:r>
              <a:rPr lang="de-DE" dirty="0" smtClean="0"/>
              <a:t>Differenzen </a:t>
            </a:r>
            <a:r>
              <a:rPr lang="de-DE" dirty="0"/>
              <a:t>der Kraftwerkskapazitäten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in europäischen Nachbarländern</a:t>
            </a:r>
            <a:endParaRPr lang="de-DE" dirty="0"/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4688413"/>
              </p:ext>
            </p:extLst>
          </p:nvPr>
        </p:nvGraphicFramePr>
        <p:xfrm>
          <a:off x="900113" y="1491037"/>
          <a:ext cx="7885112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720725" y="6490114"/>
            <a:ext cx="7586148" cy="138499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34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01701" y="898739"/>
            <a:ext cx="7883524" cy="785701"/>
          </a:xfrm>
        </p:spPr>
        <p:txBody>
          <a:bodyPr>
            <a:normAutofit/>
          </a:bodyPr>
          <a:lstStyle/>
          <a:p>
            <a:r>
              <a:rPr lang="de-DE" dirty="0" smtClean="0"/>
              <a:t>CO</a:t>
            </a:r>
            <a:r>
              <a:rPr lang="de-DE" baseline="-25000" dirty="0" smtClean="0"/>
              <a:t>2</a:t>
            </a:r>
            <a:r>
              <a:rPr lang="de-DE" dirty="0" smtClean="0"/>
              <a:t>-Emissionen in Deutschland und Europ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11</a:t>
            </a:fld>
            <a:endParaRPr lang="de-DE"/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6310563"/>
              </p:ext>
            </p:extLst>
          </p:nvPr>
        </p:nvGraphicFramePr>
        <p:xfrm>
          <a:off x="900113" y="1773238"/>
          <a:ext cx="7885112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20724" y="6484250"/>
            <a:ext cx="7676301" cy="144364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0181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5044" y="898737"/>
            <a:ext cx="7883524" cy="785701"/>
          </a:xfrm>
        </p:spPr>
        <p:txBody>
          <a:bodyPr>
            <a:normAutofit/>
          </a:bodyPr>
          <a:lstStyle/>
          <a:p>
            <a:r>
              <a:rPr lang="de-DE" dirty="0" smtClean="0"/>
              <a:t>Zusammenfassu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12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995044" y="1759131"/>
            <a:ext cx="7609206" cy="405239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Energie ist ein essentieller Produktionsfaktor. Die Bedeutung von Energie und Versorgungssicherheit für industriellen Wohlstand wird vielfach unterschätz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Nationale Eingriffe in den europäischen Erzeugerwettbewerb und EU-ETS führen </a:t>
            </a:r>
            <a:r>
              <a:rPr lang="de-DE" sz="1600" dirty="0" err="1" smtClean="0"/>
              <a:t>i.W</a:t>
            </a:r>
            <a:r>
              <a:rPr lang="de-DE" sz="1600" dirty="0" smtClean="0"/>
              <a:t>. zu Verlagerungseffekten ins EU Ausland, nicht zur Emissionsvermeidung.</a:t>
            </a:r>
            <a:br>
              <a:rPr lang="de-DE" sz="1600" dirty="0" smtClean="0"/>
            </a:br>
            <a:endParaRPr lang="de-DE" sz="1600" dirty="0" smtClean="0"/>
          </a:p>
          <a:p>
            <a:pPr marL="573750" lvl="4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Stromexporte aus DE gehen zurück, Stromimporte nach DE nehmen zu</a:t>
            </a:r>
            <a:br>
              <a:rPr lang="de-DE" sz="1600" dirty="0" smtClean="0"/>
            </a:br>
            <a:endParaRPr lang="de-DE" sz="1600" dirty="0" smtClean="0"/>
          </a:p>
          <a:p>
            <a:pPr marL="573750" lvl="4" indent="-285750">
              <a:buFont typeface="Wingdings" panose="05000000000000000000" pitchFamily="2" charset="2"/>
              <a:buChar char="Ø"/>
            </a:pPr>
            <a:r>
              <a:rPr lang="de-DE" sz="1600" dirty="0" smtClean="0"/>
              <a:t>Im Szenario mit nationalem Eingriff steigen insb. in PO, CZ, BE, NL, DK Stromerzeugung und Emissionen aus Steinkohlekraftwerken</a:t>
            </a:r>
            <a:br>
              <a:rPr lang="de-DE" sz="1600" dirty="0" smtClean="0"/>
            </a:b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/>
              <a:t>Die Ergebnisse illustrieren den Effekt einer einseitigen Restriktion auf Stromerzeugung in DE im europäischen Erzeugerwettbewerb und EU-E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0724" y="6484249"/>
            <a:ext cx="7663422" cy="153887"/>
          </a:xfrm>
        </p:spPr>
        <p:txBody>
          <a:bodyPr/>
          <a:lstStyle/>
          <a:p>
            <a:r>
              <a:rPr lang="de-DE" dirty="0" smtClean="0"/>
              <a:t>AKE Frühjahrssitzung | Volkswirtschaftliche Einordnung des Beitrags der Kohle zur Energietransformation | </a:t>
            </a:r>
            <a:r>
              <a:rPr lang="de-DE" dirty="0" err="1" smtClean="0"/>
              <a:t>D.Lindenberger</a:t>
            </a:r>
            <a:r>
              <a:rPr lang="de-DE" dirty="0" smtClean="0"/>
              <a:t>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779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987426" y="1303020"/>
            <a:ext cx="5756274" cy="2616101"/>
          </a:xfrm>
        </p:spPr>
        <p:txBody>
          <a:bodyPr/>
          <a:lstStyle/>
          <a:p>
            <a:r>
              <a:rPr lang="de-DE" dirty="0" smtClean="0"/>
              <a:t>Vielen Dank für Ihr Interesse!</a:t>
            </a:r>
          </a:p>
          <a:p>
            <a:endParaRPr lang="de-DE" dirty="0" smtClean="0"/>
          </a:p>
          <a:p>
            <a:pPr lvl="2"/>
            <a:r>
              <a:rPr lang="de-DE" dirty="0" smtClean="0"/>
              <a:t>PD Dr. Dietmar Lindenberger</a:t>
            </a:r>
          </a:p>
          <a:p>
            <a:pPr lvl="2"/>
            <a:r>
              <a:rPr lang="de-DE" sz="1200" dirty="0" smtClean="0"/>
              <a:t>Energiewirtschaftliches Institut an der Universität zu Köln (EWI)</a:t>
            </a:r>
          </a:p>
          <a:p>
            <a:pPr lvl="2"/>
            <a:r>
              <a:rPr lang="de-DE" sz="1200" dirty="0" smtClean="0"/>
              <a:t>Alte Wagenfabrik</a:t>
            </a:r>
          </a:p>
          <a:p>
            <a:pPr lvl="2"/>
            <a:r>
              <a:rPr lang="de-DE" sz="1200" dirty="0" err="1" smtClean="0"/>
              <a:t>Vogelsanger</a:t>
            </a:r>
            <a:r>
              <a:rPr lang="de-DE" sz="1200" dirty="0" smtClean="0"/>
              <a:t> Straße 321a</a:t>
            </a:r>
          </a:p>
          <a:p>
            <a:pPr lvl="2"/>
            <a:r>
              <a:rPr lang="de-DE" sz="1200" dirty="0" smtClean="0"/>
              <a:t>D-50827 Köln</a:t>
            </a:r>
            <a:br>
              <a:rPr lang="de-DE" sz="1200" dirty="0" smtClean="0"/>
            </a:br>
            <a:r>
              <a:rPr lang="de-DE" sz="1200" dirty="0" smtClean="0">
                <a:hlinkClick r:id="rId3"/>
              </a:rPr>
              <a:t>dietmar.lindenberger@uni-koeln.de</a:t>
            </a:r>
            <a:r>
              <a:rPr lang="de-DE" sz="1200" dirty="0" smtClean="0"/>
              <a:t/>
            </a:r>
            <a:br>
              <a:rPr lang="de-DE" sz="1200" dirty="0" smtClean="0"/>
            </a:br>
            <a:endParaRPr lang="de-DE" sz="1200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720724" y="6505503"/>
            <a:ext cx="8423276" cy="138499"/>
          </a:xfrm>
        </p:spPr>
        <p:txBody>
          <a:bodyPr/>
          <a:lstStyle/>
          <a:p>
            <a:r>
              <a:rPr lang="de-DE" dirty="0" smtClean="0"/>
              <a:t>AKE Frühjahrssitzung | Volkswirtschaftliche Einordnung des Beitrags der Kohle zur Energietransformation </a:t>
            </a:r>
            <a:r>
              <a:rPr lang="de-DE" dirty="0" smtClean="0"/>
              <a:t>| </a:t>
            </a:r>
            <a:r>
              <a:rPr lang="de-DE" dirty="0" smtClean="0"/>
              <a:t>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1072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Foliennummernplatzhalt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35913" y="6484938"/>
            <a:ext cx="668337" cy="15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400"/>
              </a:lnSpc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2400"/>
              </a:lnSpc>
              <a:buFont typeface="Arial" panose="020B0604020202020204" pitchFamily="34" charset="0"/>
              <a:buAutoNum type="arabicPeriod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ts val="2000"/>
              </a:lnSpc>
              <a:buFont typeface="Arial" panose="020B0604020202020204" pitchFamily="34" charset="0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ts val="2000"/>
              </a:lnSpc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fld id="{C208FD9D-6EB3-4ECD-8683-CD2E2BEB99E6}" type="slidenum">
              <a:rPr lang="de-DE" altLang="de-DE" smtClean="0">
                <a:solidFill>
                  <a:schemeClr val="tx2"/>
                </a:solidFill>
              </a:rPr>
              <a:pPr>
                <a:lnSpc>
                  <a:spcPct val="90000"/>
                </a:lnSpc>
                <a:buFontTx/>
                <a:buNone/>
              </a:pPr>
              <a:t>2</a:t>
            </a:fld>
            <a:endParaRPr lang="de-DE" altLang="de-DE" smtClean="0">
              <a:solidFill>
                <a:schemeClr val="tx2"/>
              </a:solidFill>
            </a:endParaRPr>
          </a:p>
        </p:txBody>
      </p:sp>
      <p:sp>
        <p:nvSpPr>
          <p:cNvPr id="34819" name="Textplatzhalter 3"/>
          <p:cNvSpPr>
            <a:spLocks noGrp="1"/>
          </p:cNvSpPr>
          <p:nvPr>
            <p:ph type="body" sz="quarter" idx="13"/>
          </p:nvPr>
        </p:nvSpPr>
        <p:spPr bwMode="auto">
          <a:xfrm>
            <a:off x="1004061" y="1958191"/>
            <a:ext cx="7895239" cy="3531736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lvl="2">
              <a:lnSpc>
                <a:spcPct val="150000"/>
              </a:lnSpc>
              <a:buClr>
                <a:schemeClr val="tx2"/>
              </a:buClr>
              <a:defRPr/>
            </a:pPr>
            <a:r>
              <a:rPr lang="de-DE" altLang="de-DE" sz="1700" b="1" dirty="0" smtClean="0"/>
              <a:t>Die ausgewogene </a:t>
            </a:r>
            <a:r>
              <a:rPr lang="de-DE" altLang="de-DE" sz="1700" b="1" dirty="0"/>
              <a:t>Berücksichtigung der </a:t>
            </a:r>
            <a:r>
              <a:rPr lang="de-DE" altLang="de-DE" sz="1700" b="1" dirty="0" smtClean="0"/>
              <a:t>energiepolitischen Ziele </a:t>
            </a:r>
            <a:br>
              <a:rPr lang="de-DE" altLang="de-DE" sz="1700" b="1" dirty="0" smtClean="0"/>
            </a:br>
            <a:r>
              <a:rPr lang="de-DE" altLang="de-DE" sz="1700" b="1" dirty="0" smtClean="0"/>
              <a:t>(Versorgungssicherheit, Umwelt-/Klimaschutz, </a:t>
            </a:r>
            <a:r>
              <a:rPr lang="de-DE" altLang="de-DE" sz="1700" b="1" dirty="0"/>
              <a:t>Wirtschaftlichkeit) </a:t>
            </a:r>
            <a:r>
              <a:rPr lang="de-DE" altLang="de-DE" sz="1700" b="1" dirty="0" smtClean="0"/>
              <a:t/>
            </a:r>
            <a:br>
              <a:rPr lang="de-DE" altLang="de-DE" sz="1700" b="1" dirty="0" smtClean="0"/>
            </a:br>
            <a:r>
              <a:rPr lang="de-DE" altLang="de-DE" sz="1700" b="1" dirty="0" smtClean="0"/>
              <a:t>bleibt wesentlich.</a:t>
            </a:r>
            <a:r>
              <a:rPr lang="de-DE" altLang="de-DE" sz="1700" b="1" dirty="0"/>
              <a:t/>
            </a:r>
            <a:br>
              <a:rPr lang="de-DE" altLang="de-DE" sz="1700" b="1" dirty="0"/>
            </a:br>
            <a:r>
              <a:rPr lang="de-DE" altLang="de-DE" sz="1700" b="1" dirty="0" smtClean="0"/>
              <a:t>     </a:t>
            </a:r>
            <a:endParaRPr lang="de-DE" altLang="de-DE" sz="1700" b="1" dirty="0"/>
          </a:p>
          <a:p>
            <a:pPr lvl="2">
              <a:lnSpc>
                <a:spcPct val="150000"/>
              </a:lnSpc>
              <a:buClr>
                <a:schemeClr val="tx2"/>
              </a:buClr>
              <a:defRPr/>
            </a:pPr>
            <a:r>
              <a:rPr lang="de-DE" altLang="de-DE" sz="1700" b="1" dirty="0" smtClean="0"/>
              <a:t>Die essentielle Bedeutung </a:t>
            </a:r>
            <a:r>
              <a:rPr lang="de-DE" altLang="de-DE" sz="1700" b="1" dirty="0"/>
              <a:t>von Energie und </a:t>
            </a:r>
            <a:r>
              <a:rPr lang="de-DE" altLang="de-DE" sz="1700" b="1" dirty="0" smtClean="0"/>
              <a:t>Versorgungssicherheit </a:t>
            </a:r>
            <a:br>
              <a:rPr lang="de-DE" altLang="de-DE" sz="1700" b="1" dirty="0" smtClean="0"/>
            </a:br>
            <a:r>
              <a:rPr lang="de-DE" altLang="de-DE" sz="1700" b="1" dirty="0" smtClean="0"/>
              <a:t>für industriellen Wohlstand wird </a:t>
            </a:r>
            <a:r>
              <a:rPr lang="de-DE" altLang="de-DE" sz="1700" b="1" dirty="0"/>
              <a:t>vielfach </a:t>
            </a:r>
            <a:r>
              <a:rPr lang="de-DE" altLang="de-DE" sz="1700" b="1" dirty="0" smtClean="0"/>
              <a:t>unterschätzt.</a:t>
            </a:r>
            <a:endParaRPr lang="de-DE" altLang="de-DE" sz="1700" b="1" dirty="0"/>
          </a:p>
          <a:p>
            <a:pPr lvl="2">
              <a:lnSpc>
                <a:spcPct val="150000"/>
              </a:lnSpc>
              <a:buClr>
                <a:schemeClr val="tx2"/>
              </a:buClr>
              <a:defRPr/>
            </a:pPr>
            <a:endParaRPr lang="de-DE" altLang="de-DE" sz="1700" b="1" dirty="0" smtClean="0"/>
          </a:p>
          <a:p>
            <a:pPr lvl="2">
              <a:lnSpc>
                <a:spcPct val="150000"/>
              </a:lnSpc>
              <a:buClr>
                <a:schemeClr val="tx2"/>
              </a:buClr>
              <a:defRPr/>
            </a:pPr>
            <a:r>
              <a:rPr lang="de-DE" altLang="de-DE" sz="1700" b="1" dirty="0" smtClean="0"/>
              <a:t>Nationale Eingriffe in den europäischen Strommarkt und ETS führen </a:t>
            </a:r>
            <a:r>
              <a:rPr lang="de-DE" altLang="de-DE" sz="1700" b="1" dirty="0" err="1" smtClean="0"/>
              <a:t>i.W</a:t>
            </a:r>
            <a:r>
              <a:rPr lang="de-DE" altLang="de-DE" sz="1700" b="1" dirty="0" smtClean="0"/>
              <a:t>.</a:t>
            </a:r>
            <a:br>
              <a:rPr lang="de-DE" altLang="de-DE" sz="1700" b="1" dirty="0" smtClean="0"/>
            </a:br>
            <a:r>
              <a:rPr lang="de-DE" altLang="de-DE" sz="1700" b="1" dirty="0" smtClean="0"/>
              <a:t>zur Verlagerung von Erzeugung u. Emissionen, nicht zur Vermeidung.</a:t>
            </a:r>
          </a:p>
        </p:txBody>
      </p:sp>
      <p:sp>
        <p:nvSpPr>
          <p:cNvPr id="29700" name="Titel 1"/>
          <p:cNvSpPr>
            <a:spLocks noGrp="1"/>
          </p:cNvSpPr>
          <p:nvPr>
            <p:ph type="title"/>
          </p:nvPr>
        </p:nvSpPr>
        <p:spPr>
          <a:xfrm>
            <a:off x="1004062" y="1150690"/>
            <a:ext cx="7494587" cy="501650"/>
          </a:xfrm>
        </p:spPr>
        <p:txBody>
          <a:bodyPr>
            <a:noAutofit/>
          </a:bodyPr>
          <a:lstStyle/>
          <a:p>
            <a:pPr eaLnBrk="1" hangingPunct="1"/>
            <a:r>
              <a:rPr lang="de-DE" altLang="de-DE" sz="2200" dirty="0">
                <a:solidFill>
                  <a:schemeClr val="accent1"/>
                </a:solidFill>
              </a:rPr>
              <a:t>Agenda</a:t>
            </a:r>
            <a:br>
              <a:rPr lang="de-DE" altLang="de-DE" sz="2200" dirty="0">
                <a:solidFill>
                  <a:schemeClr val="accent1"/>
                </a:solidFill>
              </a:rPr>
            </a:br>
            <a:r>
              <a:rPr lang="de-DE" altLang="de-DE" sz="2000" dirty="0" smtClean="0">
                <a:solidFill>
                  <a:schemeClr val="accent1"/>
                </a:solidFill>
              </a:rPr>
              <a:t/>
            </a:r>
            <a:br>
              <a:rPr lang="de-DE" altLang="de-DE" sz="2000" dirty="0" smtClean="0">
                <a:solidFill>
                  <a:schemeClr val="accent1"/>
                </a:solidFill>
              </a:rPr>
            </a:br>
            <a:endParaRPr lang="de-DE" altLang="de-DE" sz="2000" dirty="0" smtClean="0">
              <a:solidFill>
                <a:schemeClr val="accent1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20724" y="6503963"/>
            <a:ext cx="8294487" cy="124650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592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nummernplatzhalt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35913" y="6484938"/>
            <a:ext cx="668337" cy="15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400"/>
              </a:lnSpc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2400"/>
              </a:lnSpc>
              <a:buFont typeface="Arial" panose="020B0604020202020204" pitchFamily="34" charset="0"/>
              <a:buAutoNum type="arabicPeriod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ts val="2000"/>
              </a:lnSpc>
              <a:buFont typeface="Arial" panose="020B0604020202020204" pitchFamily="34" charset="0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ts val="2000"/>
              </a:lnSpc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fld id="{89F2C65C-1AF9-4CE1-B52C-8B91478822FF}" type="slidenum">
              <a:rPr lang="de-DE" altLang="de-DE" smtClean="0">
                <a:solidFill>
                  <a:schemeClr val="tx2"/>
                </a:solidFill>
              </a:rPr>
              <a:pPr>
                <a:lnSpc>
                  <a:spcPct val="90000"/>
                </a:lnSpc>
                <a:buFontTx/>
                <a:buNone/>
              </a:pPr>
              <a:t>3</a:t>
            </a:fld>
            <a:endParaRPr lang="de-DE" altLang="de-DE" smtClean="0">
              <a:solidFill>
                <a:schemeClr val="tx2"/>
              </a:solidFill>
            </a:endParaRPr>
          </a:p>
        </p:txBody>
      </p:sp>
      <p:sp>
        <p:nvSpPr>
          <p:cNvPr id="31747" name="Titel 1"/>
          <p:cNvSpPr>
            <a:spLocks noGrp="1"/>
          </p:cNvSpPr>
          <p:nvPr>
            <p:ph type="title"/>
          </p:nvPr>
        </p:nvSpPr>
        <p:spPr>
          <a:xfrm>
            <a:off x="746021" y="1157882"/>
            <a:ext cx="8127521" cy="50165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de-DE" altLang="de-DE" dirty="0" smtClean="0">
                <a:solidFill>
                  <a:schemeClr val="accent1"/>
                </a:solidFill>
              </a:rPr>
              <a:t>Ausgewogene Berücksichtigung der energiepolitischen Ziele</a:t>
            </a:r>
            <a:br>
              <a:rPr lang="de-DE" altLang="de-DE" dirty="0" smtClean="0">
                <a:solidFill>
                  <a:schemeClr val="accent1"/>
                </a:solidFill>
              </a:rPr>
            </a:br>
            <a:r>
              <a:rPr lang="de-DE" altLang="de-DE" sz="2000" dirty="0" smtClean="0">
                <a:solidFill>
                  <a:schemeClr val="accent1"/>
                </a:solidFill>
              </a:rPr>
              <a:t/>
            </a:r>
            <a:br>
              <a:rPr lang="de-DE" altLang="de-DE" sz="2000" dirty="0" smtClean="0">
                <a:solidFill>
                  <a:schemeClr val="accent1"/>
                </a:solidFill>
              </a:rPr>
            </a:br>
            <a:endParaRPr lang="de-DE" altLang="de-DE" sz="2000" dirty="0" smtClean="0">
              <a:solidFill>
                <a:schemeClr val="accent1"/>
              </a:solidFill>
            </a:endParaRPr>
          </a:p>
        </p:txBody>
      </p:sp>
      <p:sp>
        <p:nvSpPr>
          <p:cNvPr id="31749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720724" y="1824399"/>
            <a:ext cx="8423276" cy="4616648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Kohle und insbesondere heimische Braunkohle leisten wichtige Beiträge zu Versorgungssicherheit und Wirtschaftlichkeit.</a:t>
            </a:r>
            <a:br>
              <a:rPr lang="de-DE" altLang="de-DE" sz="1600" dirty="0" smtClean="0"/>
            </a:br>
            <a:endParaRPr lang="de-DE" alt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/>
              <a:t>Braunkohle ist kostengünstig und unabhängig von Weltmarkt-Preisvolatilität, was Strompreise dämpft und wovon der Wirtschaftsstandort DE profitiert.</a:t>
            </a:r>
            <a:br>
              <a:rPr lang="de-DE" altLang="de-DE" sz="1600" dirty="0"/>
            </a:br>
            <a:r>
              <a:rPr lang="de-DE" altLang="de-DE" sz="1600" dirty="0" smtClean="0"/>
              <a:t> </a:t>
            </a:r>
            <a:endParaRPr lang="de-DE" alt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Bestehende </a:t>
            </a:r>
            <a:r>
              <a:rPr lang="de-DE" altLang="de-DE" sz="1600" dirty="0"/>
              <a:t>Kohlekraftwerke tragen in den „kritischen“ Jahren nach 2022 </a:t>
            </a:r>
            <a:r>
              <a:rPr lang="de-DE" altLang="de-DE" sz="1600" dirty="0" smtClean="0"/>
              <a:t/>
            </a:r>
            <a:br>
              <a:rPr lang="de-DE" altLang="de-DE" sz="1600" dirty="0" smtClean="0"/>
            </a:br>
            <a:r>
              <a:rPr lang="de-DE" altLang="de-DE" sz="1600" dirty="0" smtClean="0"/>
              <a:t>(Kernenergie-Ausstieg</a:t>
            </a:r>
            <a:r>
              <a:rPr lang="de-DE" altLang="de-DE" sz="1600" dirty="0"/>
              <a:t>, altersbedingtes Ausscheiden konventioneller Kraftwerke, verzögerter Netzausbau, unklare Investitionsbedingungen) zur gesicherten Leistung bei. </a:t>
            </a:r>
            <a:r>
              <a:rPr lang="de-DE" altLang="de-DE" sz="1600" dirty="0" smtClean="0"/>
              <a:t> </a:t>
            </a:r>
            <a:r>
              <a:rPr lang="de-DE" altLang="de-DE" sz="1600" dirty="0"/>
              <a:t/>
            </a:r>
            <a:br>
              <a:rPr lang="de-DE" altLang="de-DE" sz="1600" dirty="0"/>
            </a:br>
            <a:endParaRPr lang="de-DE" alt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Braunkohle ist von hoher regionalwirtschaftlicher Bedeutung </a:t>
            </a:r>
            <a:br>
              <a:rPr lang="de-DE" altLang="de-DE" sz="1600" dirty="0" smtClean="0"/>
            </a:br>
            <a:r>
              <a:rPr lang="de-DE" altLang="de-DE" sz="1600" dirty="0" smtClean="0"/>
              <a:t>(Brandenburg, Nordrhein-Westfalen, Sachsen, Sachsen-Anhalt).</a:t>
            </a:r>
            <a:br>
              <a:rPr lang="de-DE" altLang="de-DE" sz="1600" dirty="0" smtClean="0"/>
            </a:br>
            <a:endParaRPr lang="de-DE" alt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Effektiver Klimaschutz muss die Wirkungen des EU Strommarkts u. ETS berücksichtigen.    </a:t>
            </a:r>
            <a:br>
              <a:rPr lang="de-DE" altLang="de-DE" sz="1600" dirty="0" smtClean="0"/>
            </a:br>
            <a:endParaRPr lang="de-DE" altLang="de-DE" sz="1600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20724" y="6490115"/>
            <a:ext cx="7573270" cy="90042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041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nummernplatzhalt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35913" y="6484938"/>
            <a:ext cx="668337" cy="15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2400"/>
              </a:lnSpc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2400"/>
              </a:lnSpc>
              <a:buFont typeface="Arial" panose="020B0604020202020204" pitchFamily="34" charset="0"/>
              <a:buAutoNum type="arabicPeriod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ts val="2000"/>
              </a:lnSpc>
              <a:buFont typeface="Arial" panose="020B0604020202020204" pitchFamily="34" charset="0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ts val="2000"/>
              </a:lnSpc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AutoNum type="arabicPeriod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fld id="{89F2C65C-1AF9-4CE1-B52C-8B91478822FF}" type="slidenum">
              <a:rPr lang="de-DE" altLang="de-DE" smtClean="0">
                <a:solidFill>
                  <a:schemeClr val="tx2"/>
                </a:solidFill>
              </a:rPr>
              <a:pPr>
                <a:lnSpc>
                  <a:spcPct val="90000"/>
                </a:lnSpc>
                <a:buFontTx/>
                <a:buNone/>
              </a:pPr>
              <a:t>4</a:t>
            </a:fld>
            <a:endParaRPr lang="de-DE" altLang="de-DE" smtClean="0">
              <a:solidFill>
                <a:schemeClr val="tx2"/>
              </a:solidFill>
            </a:endParaRPr>
          </a:p>
        </p:txBody>
      </p:sp>
      <p:sp>
        <p:nvSpPr>
          <p:cNvPr id="31747" name="Titel 1"/>
          <p:cNvSpPr>
            <a:spLocks noGrp="1"/>
          </p:cNvSpPr>
          <p:nvPr>
            <p:ph type="title"/>
          </p:nvPr>
        </p:nvSpPr>
        <p:spPr>
          <a:xfrm>
            <a:off x="913448" y="1183640"/>
            <a:ext cx="7895701" cy="50165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de-DE" altLang="de-DE" dirty="0" smtClean="0">
                <a:solidFill>
                  <a:schemeClr val="accent1"/>
                </a:solidFill>
              </a:rPr>
              <a:t>Energie und Versorgungssicherheit sind für industriellen Wohlstand von essentieller Bedeutung</a:t>
            </a:r>
            <a:r>
              <a:rPr lang="de-DE" altLang="de-DE" sz="2000" dirty="0" smtClean="0">
                <a:solidFill>
                  <a:schemeClr val="accent1"/>
                </a:solidFill>
              </a:rPr>
              <a:t/>
            </a:r>
            <a:br>
              <a:rPr lang="de-DE" altLang="de-DE" sz="2000" dirty="0" smtClean="0">
                <a:solidFill>
                  <a:schemeClr val="accent1"/>
                </a:solidFill>
              </a:rPr>
            </a:br>
            <a:endParaRPr lang="de-DE" altLang="de-DE" sz="2000" dirty="0" smtClean="0">
              <a:solidFill>
                <a:schemeClr val="accent1"/>
              </a:solidFill>
            </a:endParaRPr>
          </a:p>
        </p:txBody>
      </p:sp>
      <p:sp>
        <p:nvSpPr>
          <p:cNvPr id="31749" name="Textplatzhalter 1"/>
          <p:cNvSpPr>
            <a:spLocks noGrp="1"/>
          </p:cNvSpPr>
          <p:nvPr>
            <p:ph type="body" sz="quarter" idx="13"/>
          </p:nvPr>
        </p:nvSpPr>
        <p:spPr bwMode="auto">
          <a:xfrm>
            <a:off x="900569" y="2326679"/>
            <a:ext cx="8230552" cy="3385542"/>
          </a:xfrm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Energie ist neben </a:t>
            </a:r>
            <a:r>
              <a:rPr lang="de-DE" altLang="de-DE" sz="1600" dirty="0"/>
              <a:t>Kapital und </a:t>
            </a:r>
            <a:r>
              <a:rPr lang="de-DE" altLang="de-DE" sz="1600" dirty="0" smtClean="0"/>
              <a:t>Arbeit essentieller Produktionsfaktor industrieller Volkswirtschaften. </a:t>
            </a:r>
            <a:br>
              <a:rPr lang="de-DE" altLang="de-DE" sz="1600" dirty="0" smtClean="0"/>
            </a:br>
            <a:endParaRPr lang="de-DE" alt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Energie ist für die Wohlstandsproduktion etwa so wichtig wie Kapital und Arbeit zusammen. Die Produktionsmächtigkeit („Output-Elastizität“) der Energie liegt in industriellen Volkswirtschaften vielfach in der Größenordnung von 50%. (*)</a:t>
            </a:r>
            <a:br>
              <a:rPr lang="de-DE" altLang="de-DE" sz="1600" dirty="0" smtClean="0"/>
            </a:br>
            <a:endParaRPr lang="de-DE" alt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1600" dirty="0" smtClean="0"/>
              <a:t>Energie- und Versorgungssicherheit werden vielfach unterschätzt.</a:t>
            </a:r>
            <a:br>
              <a:rPr lang="de-DE" altLang="de-DE" sz="1600" dirty="0" smtClean="0"/>
            </a:br>
            <a:r>
              <a:rPr lang="de-DE" altLang="de-DE" sz="1600" dirty="0" smtClean="0"/>
              <a:t/>
            </a:r>
            <a:br>
              <a:rPr lang="de-DE" altLang="de-DE" sz="1600" dirty="0" smtClean="0"/>
            </a:br>
            <a:endParaRPr lang="de-DE" altLang="de-DE" sz="1600" dirty="0"/>
          </a:p>
          <a:p>
            <a:r>
              <a:rPr lang="de-DE" altLang="de-DE" sz="1200" dirty="0"/>
              <a:t>  </a:t>
            </a:r>
            <a:r>
              <a:rPr lang="de-DE" altLang="de-DE" sz="1200" dirty="0" smtClean="0"/>
              <a:t>    (*) Energiewirtschaftliche Tagesfragen 2017, Heft 11, S.45-36; und Heft 9, S.19-22 und dortige Referenzen. </a:t>
            </a:r>
            <a:endParaRPr lang="de-DE" sz="12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20724" y="6490114"/>
            <a:ext cx="7689180" cy="138499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801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912" y="1023183"/>
            <a:ext cx="8448542" cy="599187"/>
          </a:xfrm>
        </p:spPr>
        <p:txBody>
          <a:bodyPr>
            <a:normAutofit fontScale="90000"/>
          </a:bodyPr>
          <a:lstStyle/>
          <a:p>
            <a:r>
              <a:rPr lang="de-DE" altLang="de-DE" dirty="0" smtClean="0">
                <a:solidFill>
                  <a:schemeClr val="accent1"/>
                </a:solidFill>
              </a:rPr>
              <a:t>Nationale </a:t>
            </a:r>
            <a:r>
              <a:rPr lang="de-DE" altLang="de-DE" dirty="0">
                <a:solidFill>
                  <a:schemeClr val="accent1"/>
                </a:solidFill>
              </a:rPr>
              <a:t>Eingriffe in den </a:t>
            </a:r>
            <a:r>
              <a:rPr lang="de-DE" altLang="de-DE" dirty="0" smtClean="0">
                <a:solidFill>
                  <a:schemeClr val="accent1"/>
                </a:solidFill>
              </a:rPr>
              <a:t>europäischen Strommarkt u. EU-ETS führen lediglich zur </a:t>
            </a:r>
            <a:r>
              <a:rPr lang="de-DE" altLang="de-DE" i="1" dirty="0" smtClean="0">
                <a:solidFill>
                  <a:schemeClr val="accent1"/>
                </a:solidFill>
              </a:rPr>
              <a:t>Verlagerung </a:t>
            </a:r>
            <a:r>
              <a:rPr lang="de-DE" altLang="de-DE" dirty="0" smtClean="0">
                <a:solidFill>
                  <a:schemeClr val="accent1"/>
                </a:solidFill>
              </a:rPr>
              <a:t>von Erzeugung u. Emissionen</a:t>
            </a:r>
            <a:endParaRPr lang="de-DE" sz="2000" b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199585" y="6381379"/>
            <a:ext cx="667555" cy="153888"/>
          </a:xfrm>
        </p:spPr>
        <p:txBody>
          <a:bodyPr/>
          <a:lstStyle/>
          <a:p>
            <a:fld id="{9F49CA7C-03FA-4EF0-B142-CB7E722EA5AE}" type="slidenum">
              <a:rPr lang="de-DE" smtClean="0"/>
              <a:t>5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983614" y="1818958"/>
            <a:ext cx="8046086" cy="4308872"/>
          </a:xfrm>
        </p:spPr>
        <p:txBody>
          <a:bodyPr/>
          <a:lstStyle/>
          <a:p>
            <a:endParaRPr lang="de-DE" dirty="0" smtClean="0"/>
          </a:p>
          <a:p>
            <a:r>
              <a:rPr lang="de-DE" dirty="0" smtClean="0"/>
              <a:t>    Vergleich zweier Szenarien des DE und EU Strommarkts bis 2030 (*)</a:t>
            </a:r>
          </a:p>
          <a:p>
            <a:endParaRPr lang="de-DE" dirty="0" smtClean="0"/>
          </a:p>
          <a:p>
            <a:pPr marL="573750" lvl="2" indent="-285750"/>
            <a:r>
              <a:rPr lang="de-DE" b="1" dirty="0" smtClean="0"/>
              <a:t>Referenzszenario </a:t>
            </a:r>
            <a:r>
              <a:rPr lang="de-DE" dirty="0" smtClean="0"/>
              <a:t>orientiert an Energiereferenzprognose für </a:t>
            </a:r>
            <a:r>
              <a:rPr lang="de-DE" dirty="0" err="1" smtClean="0"/>
              <a:t>BMWi</a:t>
            </a:r>
            <a:r>
              <a:rPr lang="de-DE" dirty="0" smtClean="0"/>
              <a:t> 2014</a:t>
            </a:r>
            <a:br>
              <a:rPr lang="de-DE" dirty="0" smtClean="0"/>
            </a:br>
            <a:endParaRPr lang="de-DE" dirty="0" smtClean="0"/>
          </a:p>
          <a:p>
            <a:pPr marL="573750" lvl="1" indent="-285750">
              <a:buFont typeface="Arial" panose="020B0604020202020204" pitchFamily="34" charset="0"/>
              <a:buChar char="•"/>
            </a:pPr>
            <a:r>
              <a:rPr lang="de-DE" b="1" dirty="0" smtClean="0"/>
              <a:t>Szenario mit zusätzlicher CO</a:t>
            </a:r>
            <a:r>
              <a:rPr lang="de-DE" b="1" baseline="-25000" dirty="0" smtClean="0"/>
              <a:t>2</a:t>
            </a:r>
            <a:r>
              <a:rPr lang="de-DE" b="1" dirty="0" smtClean="0"/>
              <a:t>-Reduktion in D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	 (22 Mio. t CO</a:t>
            </a:r>
            <a:r>
              <a:rPr lang="de-DE" baseline="-25000" dirty="0" smtClean="0"/>
              <a:t>2</a:t>
            </a:r>
            <a:r>
              <a:rPr lang="de-DE" dirty="0" smtClean="0"/>
              <a:t> zusätzlich </a:t>
            </a:r>
            <a:r>
              <a:rPr lang="de-DE" dirty="0" err="1" smtClean="0"/>
              <a:t>ggü</a:t>
            </a:r>
            <a:r>
              <a:rPr lang="de-DE" dirty="0" smtClean="0"/>
              <a:t>. </a:t>
            </a:r>
            <a:r>
              <a:rPr lang="de-DE" dirty="0"/>
              <a:t>Projektionsbericht in </a:t>
            </a:r>
            <a:r>
              <a:rPr lang="de-DE" dirty="0" smtClean="0"/>
              <a:t>2020)</a:t>
            </a:r>
          </a:p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	Durch Differenzbildung zwischen den Szenarien werden die Effekte 	der nationalen Politik identifiziert.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   </a:t>
            </a:r>
            <a:br>
              <a:rPr lang="de-DE" dirty="0" smtClean="0"/>
            </a:br>
            <a:r>
              <a:rPr lang="de-DE" dirty="0" smtClean="0"/>
              <a:t>    (*) </a:t>
            </a:r>
            <a:r>
              <a:rPr lang="de-DE" altLang="de-DE" sz="1200" dirty="0" smtClean="0"/>
              <a:t>EWI Studie (2015), Auswirkungen </a:t>
            </a:r>
            <a:r>
              <a:rPr lang="de-DE" altLang="de-DE" sz="1200" dirty="0"/>
              <a:t>deutscher CO</a:t>
            </a:r>
            <a:r>
              <a:rPr lang="de-DE" altLang="de-DE" sz="1200" baseline="-25000" dirty="0"/>
              <a:t>2</a:t>
            </a:r>
            <a:r>
              <a:rPr lang="de-DE" altLang="de-DE" sz="1200" dirty="0"/>
              <a:t>-Vermeidungsziele im europäischen </a:t>
            </a:r>
            <a:r>
              <a:rPr lang="de-DE" altLang="de-DE" sz="1200" dirty="0" smtClean="0"/>
              <a:t>Strommarkt </a:t>
            </a:r>
            <a:br>
              <a:rPr lang="de-DE" altLang="de-DE" sz="1200" dirty="0" smtClean="0"/>
            </a:br>
            <a:r>
              <a:rPr lang="de-DE" altLang="de-DE" sz="1200" dirty="0" smtClean="0"/>
              <a:t>                      http</a:t>
            </a:r>
            <a:r>
              <a:rPr lang="de-DE" altLang="de-DE" sz="1200" dirty="0"/>
              <a:t>://www.ewi.research-scenarios.de/de/publikationen/ </a:t>
            </a:r>
            <a:endParaRPr lang="de-DE" sz="1200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983614" y="6381380"/>
            <a:ext cx="7722504" cy="144364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8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00759" y="531718"/>
            <a:ext cx="7883524" cy="785701"/>
          </a:xfrm>
        </p:spPr>
        <p:txBody>
          <a:bodyPr>
            <a:noAutofit/>
          </a:bodyPr>
          <a:lstStyle/>
          <a:p>
            <a:r>
              <a:rPr lang="de-DE" dirty="0" smtClean="0"/>
              <a:t>Verminderte Stromerzeugung in Deutschland</a:t>
            </a:r>
            <a:br>
              <a:rPr lang="de-DE" dirty="0" smtClean="0"/>
            </a:br>
            <a:r>
              <a:rPr lang="de-DE" dirty="0" smtClean="0"/>
              <a:t>wird durch erhöhtes Importsaldo kompensiert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6</a:t>
            </a:fld>
            <a:endParaRPr lang="de-DE"/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/>
          </p:nvPr>
        </p:nvGraphicFramePr>
        <p:xfrm>
          <a:off x="900113" y="1773238"/>
          <a:ext cx="7885112" cy="4787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20724" y="6490114"/>
            <a:ext cx="7623175" cy="138499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4952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89328" y="563039"/>
            <a:ext cx="8589012" cy="785701"/>
          </a:xfrm>
        </p:spPr>
        <p:txBody>
          <a:bodyPr>
            <a:noAutofit/>
          </a:bodyPr>
          <a:lstStyle/>
          <a:p>
            <a:r>
              <a:rPr lang="de-DE" dirty="0" smtClean="0"/>
              <a:t>Im benachbarten Ausland wird</a:t>
            </a:r>
            <a:r>
              <a:rPr lang="de-DE" dirty="0"/>
              <a:t> </a:t>
            </a:r>
            <a:r>
              <a:rPr lang="de-DE" dirty="0" smtClean="0"/>
              <a:t>umgekehrt</a:t>
            </a:r>
            <a:br>
              <a:rPr lang="de-DE" dirty="0" smtClean="0"/>
            </a:br>
            <a:r>
              <a:rPr lang="de-DE" dirty="0" smtClean="0"/>
              <a:t>mehr Strom erzeugt (zulasten der ausl. Importsaldi)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7</a:t>
            </a:fld>
            <a:endParaRPr lang="de-DE"/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816867"/>
              </p:ext>
            </p:extLst>
          </p:nvPr>
        </p:nvGraphicFramePr>
        <p:xfrm>
          <a:off x="900113" y="1637569"/>
          <a:ext cx="7885112" cy="502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20724" y="6490114"/>
            <a:ext cx="7650543" cy="138499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045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39066" y="565401"/>
            <a:ext cx="7883524" cy="785701"/>
          </a:xfrm>
        </p:spPr>
        <p:txBody>
          <a:bodyPr>
            <a:noAutofit/>
          </a:bodyPr>
          <a:lstStyle/>
          <a:p>
            <a:r>
              <a:rPr lang="de-DE" dirty="0" smtClean="0"/>
              <a:t>Effekte der nationalen CO</a:t>
            </a:r>
            <a:r>
              <a:rPr lang="de-DE" baseline="-25000" dirty="0" smtClean="0"/>
              <a:t>2</a:t>
            </a:r>
            <a:r>
              <a:rPr lang="de-DE" dirty="0" smtClean="0"/>
              <a:t>-Vermeidung im </a:t>
            </a:r>
            <a:br>
              <a:rPr lang="de-DE" dirty="0" smtClean="0"/>
            </a:br>
            <a:r>
              <a:rPr lang="de-DE" dirty="0" smtClean="0"/>
              <a:t>EU Strommarkt und EU-ETS</a:t>
            </a:r>
            <a:br>
              <a:rPr lang="de-DE" dirty="0" smtClean="0"/>
            </a:br>
            <a:r>
              <a:rPr lang="de-DE" sz="1800" dirty="0" smtClean="0">
                <a:solidFill>
                  <a:schemeClr val="tx1"/>
                </a:solidFill>
              </a:rPr>
              <a:t>Differenzen der Bruttostromerzeugung (2030)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108145" y="6267079"/>
            <a:ext cx="667555" cy="153888"/>
          </a:xfrm>
        </p:spPr>
        <p:txBody>
          <a:bodyPr/>
          <a:lstStyle/>
          <a:p>
            <a:fld id="{9F49CA7C-03FA-4EF0-B142-CB7E722EA5AE}" type="slidenum">
              <a:rPr lang="de-DE" smtClean="0"/>
              <a:t>8</a:t>
            </a:fld>
            <a:endParaRPr lang="de-DE"/>
          </a:p>
        </p:txBody>
      </p:sp>
      <p:pic>
        <p:nvPicPr>
          <p:cNvPr id="93" name="Grafik 92"/>
          <p:cNvPicPr>
            <a:picLocks noChangeAspect="1"/>
          </p:cNvPicPr>
          <p:nvPr/>
        </p:nvPicPr>
        <p:blipFill rotWithShape="1">
          <a:blip r:embed="rId3"/>
          <a:srcRect l="13727" t="76913" r="41603"/>
          <a:stretch/>
        </p:blipFill>
        <p:spPr>
          <a:xfrm>
            <a:off x="611730" y="2242747"/>
            <a:ext cx="3490820" cy="1330451"/>
          </a:xfrm>
          <a:prstGeom prst="rect">
            <a:avLst/>
          </a:prstGeom>
        </p:spPr>
      </p:pic>
      <p:grpSp>
        <p:nvGrpSpPr>
          <p:cNvPr id="4" name="Gruppieren 3"/>
          <p:cNvGrpSpPr/>
          <p:nvPr/>
        </p:nvGrpSpPr>
        <p:grpSpPr>
          <a:xfrm>
            <a:off x="1909980" y="1925481"/>
            <a:ext cx="6734273" cy="4502024"/>
            <a:chOff x="3704398" y="3144342"/>
            <a:chExt cx="3475717" cy="2568582"/>
          </a:xfrm>
        </p:grpSpPr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5507507" y="3528511"/>
              <a:ext cx="93741" cy="88202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w 67"/>
                <a:gd name="T13" fmla="*/ 2147483647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4"/>
                <a:gd name="T23" fmla="*/ 67 w 67"/>
                <a:gd name="T24" fmla="*/ 64 h 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BF27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5507507" y="3528511"/>
              <a:ext cx="93741" cy="88202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"/>
                <a:gd name="T19" fmla="*/ 0 h 64"/>
                <a:gd name="T20" fmla="*/ 67 w 67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solidFill>
              <a:srgbClr val="FFBF27">
                <a:lumMod val="20000"/>
                <a:lumOff val="80000"/>
              </a:srgb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5507507" y="3528511"/>
              <a:ext cx="93741" cy="88202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"/>
                <a:gd name="T19" fmla="*/ 0 h 64"/>
                <a:gd name="T20" fmla="*/ 67 w 67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37" name="Freeform 19"/>
            <p:cNvSpPr>
              <a:spLocks/>
            </p:cNvSpPr>
            <p:nvPr/>
          </p:nvSpPr>
          <p:spPr bwMode="auto">
            <a:xfrm>
              <a:off x="5634331" y="3440309"/>
              <a:ext cx="152555" cy="242087"/>
            </a:xfrm>
            <a:custGeom>
              <a:avLst/>
              <a:gdLst>
                <a:gd name="T0" fmla="*/ 0 w 109"/>
                <a:gd name="T1" fmla="*/ 2147483647 h 176"/>
                <a:gd name="T2" fmla="*/ 2147483647 w 109"/>
                <a:gd name="T3" fmla="*/ 2147483647 h 176"/>
                <a:gd name="T4" fmla="*/ 2147483647 w 109"/>
                <a:gd name="T5" fmla="*/ 2147483647 h 176"/>
                <a:gd name="T6" fmla="*/ 2147483647 w 109"/>
                <a:gd name="T7" fmla="*/ 2147483647 h 176"/>
                <a:gd name="T8" fmla="*/ 2147483647 w 109"/>
                <a:gd name="T9" fmla="*/ 2147483647 h 176"/>
                <a:gd name="T10" fmla="*/ 2147483647 w 109"/>
                <a:gd name="T11" fmla="*/ 2147483647 h 176"/>
                <a:gd name="T12" fmla="*/ 2147483647 w 109"/>
                <a:gd name="T13" fmla="*/ 2147483647 h 176"/>
                <a:gd name="T14" fmla="*/ 2147483647 w 109"/>
                <a:gd name="T15" fmla="*/ 2147483647 h 176"/>
                <a:gd name="T16" fmla="*/ 2147483647 w 109"/>
                <a:gd name="T17" fmla="*/ 0 h 176"/>
                <a:gd name="T18" fmla="*/ 2147483647 w 109"/>
                <a:gd name="T19" fmla="*/ 2147483647 h 176"/>
                <a:gd name="T20" fmla="*/ 2147483647 w 109"/>
                <a:gd name="T21" fmla="*/ 2147483647 h 176"/>
                <a:gd name="T22" fmla="*/ 2147483647 w 109"/>
                <a:gd name="T23" fmla="*/ 2147483647 h 176"/>
                <a:gd name="T24" fmla="*/ 2147483647 w 109"/>
                <a:gd name="T25" fmla="*/ 2147483647 h 176"/>
                <a:gd name="T26" fmla="*/ 0 w 109"/>
                <a:gd name="T27" fmla="*/ 2147483647 h 176"/>
                <a:gd name="T28" fmla="*/ 2147483647 w 109"/>
                <a:gd name="T29" fmla="*/ 2147483647 h 176"/>
                <a:gd name="T30" fmla="*/ 2147483647 w 109"/>
                <a:gd name="T31" fmla="*/ 2147483647 h 176"/>
                <a:gd name="T32" fmla="*/ 2147483647 w 109"/>
                <a:gd name="T33" fmla="*/ 2147483647 h 176"/>
                <a:gd name="T34" fmla="*/ 2147483647 w 109"/>
                <a:gd name="T35" fmla="*/ 2147483647 h 176"/>
                <a:gd name="T36" fmla="*/ 2147483647 w 109"/>
                <a:gd name="T37" fmla="*/ 2147483647 h 176"/>
                <a:gd name="T38" fmla="*/ 0 w 109"/>
                <a:gd name="T39" fmla="*/ 2147483647 h 1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9"/>
                <a:gd name="T61" fmla="*/ 0 h 176"/>
                <a:gd name="T62" fmla="*/ 109 w 109"/>
                <a:gd name="T63" fmla="*/ 176 h 1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9" h="176">
                  <a:moveTo>
                    <a:pt x="0" y="168"/>
                  </a:moveTo>
                  <a:lnTo>
                    <a:pt x="50" y="176"/>
                  </a:lnTo>
                  <a:lnTo>
                    <a:pt x="76" y="144"/>
                  </a:lnTo>
                  <a:lnTo>
                    <a:pt x="76" y="112"/>
                  </a:lnTo>
                  <a:lnTo>
                    <a:pt x="109" y="96"/>
                  </a:lnTo>
                  <a:lnTo>
                    <a:pt x="92" y="72"/>
                  </a:lnTo>
                  <a:lnTo>
                    <a:pt x="109" y="64"/>
                  </a:lnTo>
                  <a:lnTo>
                    <a:pt x="101" y="8"/>
                  </a:lnTo>
                  <a:lnTo>
                    <a:pt x="84" y="0"/>
                  </a:lnTo>
                  <a:lnTo>
                    <a:pt x="67" y="16"/>
                  </a:lnTo>
                  <a:lnTo>
                    <a:pt x="59" y="48"/>
                  </a:lnTo>
                  <a:lnTo>
                    <a:pt x="42" y="16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72"/>
                  </a:lnTo>
                  <a:lnTo>
                    <a:pt x="42" y="88"/>
                  </a:lnTo>
                  <a:lnTo>
                    <a:pt x="50" y="112"/>
                  </a:lnTo>
                  <a:lnTo>
                    <a:pt x="33" y="144"/>
                  </a:lnTo>
                  <a:lnTo>
                    <a:pt x="8" y="13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39" name="DK_E"/>
            <p:cNvSpPr>
              <a:spLocks/>
            </p:cNvSpPr>
            <p:nvPr/>
          </p:nvSpPr>
          <p:spPr bwMode="auto">
            <a:xfrm>
              <a:off x="5634331" y="3440309"/>
              <a:ext cx="152555" cy="242087"/>
            </a:xfrm>
            <a:custGeom>
              <a:avLst/>
              <a:gdLst>
                <a:gd name="T0" fmla="*/ 0 w 109"/>
                <a:gd name="T1" fmla="*/ 2147483647 h 176"/>
                <a:gd name="T2" fmla="*/ 2147483647 w 109"/>
                <a:gd name="T3" fmla="*/ 2147483647 h 176"/>
                <a:gd name="T4" fmla="*/ 2147483647 w 109"/>
                <a:gd name="T5" fmla="*/ 2147483647 h 176"/>
                <a:gd name="T6" fmla="*/ 2147483647 w 109"/>
                <a:gd name="T7" fmla="*/ 2147483647 h 176"/>
                <a:gd name="T8" fmla="*/ 2147483647 w 109"/>
                <a:gd name="T9" fmla="*/ 2147483647 h 176"/>
                <a:gd name="T10" fmla="*/ 2147483647 w 109"/>
                <a:gd name="T11" fmla="*/ 2147483647 h 176"/>
                <a:gd name="T12" fmla="*/ 2147483647 w 109"/>
                <a:gd name="T13" fmla="*/ 2147483647 h 176"/>
                <a:gd name="T14" fmla="*/ 2147483647 w 109"/>
                <a:gd name="T15" fmla="*/ 2147483647 h 176"/>
                <a:gd name="T16" fmla="*/ 2147483647 w 109"/>
                <a:gd name="T17" fmla="*/ 0 h 176"/>
                <a:gd name="T18" fmla="*/ 2147483647 w 109"/>
                <a:gd name="T19" fmla="*/ 2147483647 h 176"/>
                <a:gd name="T20" fmla="*/ 2147483647 w 109"/>
                <a:gd name="T21" fmla="*/ 2147483647 h 176"/>
                <a:gd name="T22" fmla="*/ 2147483647 w 109"/>
                <a:gd name="T23" fmla="*/ 2147483647 h 176"/>
                <a:gd name="T24" fmla="*/ 2147483647 w 109"/>
                <a:gd name="T25" fmla="*/ 2147483647 h 176"/>
                <a:gd name="T26" fmla="*/ 0 w 109"/>
                <a:gd name="T27" fmla="*/ 2147483647 h 176"/>
                <a:gd name="T28" fmla="*/ 2147483647 w 109"/>
                <a:gd name="T29" fmla="*/ 2147483647 h 176"/>
                <a:gd name="T30" fmla="*/ 2147483647 w 109"/>
                <a:gd name="T31" fmla="*/ 2147483647 h 176"/>
                <a:gd name="T32" fmla="*/ 2147483647 w 109"/>
                <a:gd name="T33" fmla="*/ 2147483647 h 176"/>
                <a:gd name="T34" fmla="*/ 2147483647 w 109"/>
                <a:gd name="T35" fmla="*/ 2147483647 h 176"/>
                <a:gd name="T36" fmla="*/ 2147483647 w 109"/>
                <a:gd name="T37" fmla="*/ 2147483647 h 176"/>
                <a:gd name="T38" fmla="*/ 0 w 109"/>
                <a:gd name="T39" fmla="*/ 2147483647 h 1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9"/>
                <a:gd name="T61" fmla="*/ 0 h 176"/>
                <a:gd name="T62" fmla="*/ 109 w 109"/>
                <a:gd name="T63" fmla="*/ 176 h 1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9" h="176">
                  <a:moveTo>
                    <a:pt x="0" y="168"/>
                  </a:moveTo>
                  <a:lnTo>
                    <a:pt x="50" y="176"/>
                  </a:lnTo>
                  <a:lnTo>
                    <a:pt x="76" y="144"/>
                  </a:lnTo>
                  <a:lnTo>
                    <a:pt x="76" y="112"/>
                  </a:lnTo>
                  <a:lnTo>
                    <a:pt x="109" y="96"/>
                  </a:lnTo>
                  <a:lnTo>
                    <a:pt x="92" y="72"/>
                  </a:lnTo>
                  <a:lnTo>
                    <a:pt x="109" y="64"/>
                  </a:lnTo>
                  <a:lnTo>
                    <a:pt x="101" y="8"/>
                  </a:lnTo>
                  <a:lnTo>
                    <a:pt x="84" y="0"/>
                  </a:lnTo>
                  <a:lnTo>
                    <a:pt x="67" y="16"/>
                  </a:lnTo>
                  <a:lnTo>
                    <a:pt x="59" y="48"/>
                  </a:lnTo>
                  <a:lnTo>
                    <a:pt x="42" y="16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8" y="72"/>
                  </a:lnTo>
                  <a:lnTo>
                    <a:pt x="42" y="88"/>
                  </a:lnTo>
                  <a:lnTo>
                    <a:pt x="50" y="112"/>
                  </a:lnTo>
                  <a:lnTo>
                    <a:pt x="33" y="144"/>
                  </a:lnTo>
                  <a:lnTo>
                    <a:pt x="8" y="13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2" name="Freeform 30"/>
            <p:cNvSpPr>
              <a:spLocks/>
            </p:cNvSpPr>
            <p:nvPr/>
          </p:nvSpPr>
          <p:spPr bwMode="auto">
            <a:xfrm>
              <a:off x="3704398" y="4228499"/>
              <a:ext cx="1602763" cy="1484425"/>
            </a:xfrm>
            <a:custGeom>
              <a:avLst/>
              <a:gdLst>
                <a:gd name="T0" fmla="*/ 2147483647 w 1146"/>
                <a:gd name="T1" fmla="*/ 2147483647 h 1088"/>
                <a:gd name="T2" fmla="*/ 2147483647 w 1146"/>
                <a:gd name="T3" fmla="*/ 2147483647 h 1088"/>
                <a:gd name="T4" fmla="*/ 2147483647 w 1146"/>
                <a:gd name="T5" fmla="*/ 2147483647 h 1088"/>
                <a:gd name="T6" fmla="*/ 2147483647 w 1146"/>
                <a:gd name="T7" fmla="*/ 2147483647 h 1088"/>
                <a:gd name="T8" fmla="*/ 2147483647 w 1146"/>
                <a:gd name="T9" fmla="*/ 2147483647 h 1088"/>
                <a:gd name="T10" fmla="*/ 2147483647 w 1146"/>
                <a:gd name="T11" fmla="*/ 2147483647 h 1088"/>
                <a:gd name="T12" fmla="*/ 2147483647 w 1146"/>
                <a:gd name="T13" fmla="*/ 2147483647 h 1088"/>
                <a:gd name="T14" fmla="*/ 2147483647 w 1146"/>
                <a:gd name="T15" fmla="*/ 2147483647 h 1088"/>
                <a:gd name="T16" fmla="*/ 2147483647 w 1146"/>
                <a:gd name="T17" fmla="*/ 2147483647 h 1088"/>
                <a:gd name="T18" fmla="*/ 2147483647 w 1146"/>
                <a:gd name="T19" fmla="*/ 2147483647 h 1088"/>
                <a:gd name="T20" fmla="*/ 2147483647 w 1146"/>
                <a:gd name="T21" fmla="*/ 2147483647 h 1088"/>
                <a:gd name="T22" fmla="*/ 2147483647 w 1146"/>
                <a:gd name="T23" fmla="*/ 2147483647 h 1088"/>
                <a:gd name="T24" fmla="*/ 2147483647 w 1146"/>
                <a:gd name="T25" fmla="*/ 2147483647 h 1088"/>
                <a:gd name="T26" fmla="*/ 2147483647 w 1146"/>
                <a:gd name="T27" fmla="*/ 0 h 1088"/>
                <a:gd name="T28" fmla="*/ 2147483647 w 1146"/>
                <a:gd name="T29" fmla="*/ 2147483647 h 1088"/>
                <a:gd name="T30" fmla="*/ 2147483647 w 1146"/>
                <a:gd name="T31" fmla="*/ 2147483647 h 1088"/>
                <a:gd name="T32" fmla="*/ 2147483647 w 1146"/>
                <a:gd name="T33" fmla="*/ 2147483647 h 1088"/>
                <a:gd name="T34" fmla="*/ 2147483647 w 1146"/>
                <a:gd name="T35" fmla="*/ 2147483647 h 1088"/>
                <a:gd name="T36" fmla="*/ 2147483647 w 1146"/>
                <a:gd name="T37" fmla="*/ 2147483647 h 1088"/>
                <a:gd name="T38" fmla="*/ 2147483647 w 1146"/>
                <a:gd name="T39" fmla="*/ 2147483647 h 1088"/>
                <a:gd name="T40" fmla="*/ 2147483647 w 1146"/>
                <a:gd name="T41" fmla="*/ 2147483647 h 1088"/>
                <a:gd name="T42" fmla="*/ 2147483647 w 1146"/>
                <a:gd name="T43" fmla="*/ 2147483647 h 1088"/>
                <a:gd name="T44" fmla="*/ 2147483647 w 1146"/>
                <a:gd name="T45" fmla="*/ 2147483647 h 1088"/>
                <a:gd name="T46" fmla="*/ 2147483647 w 1146"/>
                <a:gd name="T47" fmla="*/ 2147483647 h 1088"/>
                <a:gd name="T48" fmla="*/ 2147483647 w 1146"/>
                <a:gd name="T49" fmla="*/ 2147483647 h 1088"/>
                <a:gd name="T50" fmla="*/ 2147483647 w 1146"/>
                <a:gd name="T51" fmla="*/ 2147483647 h 1088"/>
                <a:gd name="T52" fmla="*/ 2147483647 w 1146"/>
                <a:gd name="T53" fmla="*/ 2147483647 h 1088"/>
                <a:gd name="T54" fmla="*/ 2147483647 w 1146"/>
                <a:gd name="T55" fmla="*/ 2147483647 h 1088"/>
                <a:gd name="T56" fmla="*/ 2147483647 w 1146"/>
                <a:gd name="T57" fmla="*/ 2147483647 h 1088"/>
                <a:gd name="T58" fmla="*/ 2147483647 w 1146"/>
                <a:gd name="T59" fmla="*/ 2147483647 h 1088"/>
                <a:gd name="T60" fmla="*/ 2147483647 w 1146"/>
                <a:gd name="T61" fmla="*/ 2147483647 h 1088"/>
                <a:gd name="T62" fmla="*/ 2147483647 w 1146"/>
                <a:gd name="T63" fmla="*/ 2147483647 h 1088"/>
                <a:gd name="T64" fmla="*/ 2147483647 w 1146"/>
                <a:gd name="T65" fmla="*/ 2147483647 h 1088"/>
                <a:gd name="T66" fmla="*/ 2147483647 w 1146"/>
                <a:gd name="T67" fmla="*/ 2147483647 h 1088"/>
                <a:gd name="T68" fmla="*/ 2147483647 w 1146"/>
                <a:gd name="T69" fmla="*/ 2147483647 h 1088"/>
                <a:gd name="T70" fmla="*/ 2147483647 w 1146"/>
                <a:gd name="T71" fmla="*/ 2147483647 h 1088"/>
                <a:gd name="T72" fmla="*/ 2147483647 w 1146"/>
                <a:gd name="T73" fmla="*/ 2147483647 h 1088"/>
                <a:gd name="T74" fmla="*/ 2147483647 w 1146"/>
                <a:gd name="T75" fmla="*/ 2147483647 h 1088"/>
                <a:gd name="T76" fmla="*/ 2147483647 w 1146"/>
                <a:gd name="T77" fmla="*/ 2147483647 h 1088"/>
                <a:gd name="T78" fmla="*/ 2147483647 w 1146"/>
                <a:gd name="T79" fmla="*/ 2147483647 h 1088"/>
                <a:gd name="T80" fmla="*/ 2147483647 w 1146"/>
                <a:gd name="T81" fmla="*/ 2147483647 h 1088"/>
                <a:gd name="T82" fmla="*/ 2147483647 w 1146"/>
                <a:gd name="T83" fmla="*/ 2147483647 h 1088"/>
                <a:gd name="T84" fmla="*/ 2147483647 w 1146"/>
                <a:gd name="T85" fmla="*/ 2147483647 h 1088"/>
                <a:gd name="T86" fmla="*/ 2147483647 w 1146"/>
                <a:gd name="T87" fmla="*/ 2147483647 h 1088"/>
                <a:gd name="T88" fmla="*/ 2147483647 w 1146"/>
                <a:gd name="T89" fmla="*/ 2147483647 h 1088"/>
                <a:gd name="T90" fmla="*/ 2147483647 w 1146"/>
                <a:gd name="T91" fmla="*/ 2147483647 h 1088"/>
                <a:gd name="T92" fmla="*/ 2147483647 w 1146"/>
                <a:gd name="T93" fmla="*/ 2147483647 h 1088"/>
                <a:gd name="T94" fmla="*/ 2147483647 w 1146"/>
                <a:gd name="T95" fmla="*/ 2147483647 h 1088"/>
                <a:gd name="T96" fmla="*/ 2147483647 w 1146"/>
                <a:gd name="T97" fmla="*/ 2147483647 h 1088"/>
                <a:gd name="T98" fmla="*/ 2147483647 w 1146"/>
                <a:gd name="T99" fmla="*/ 2147483647 h 1088"/>
                <a:gd name="T100" fmla="*/ 2147483647 w 1146"/>
                <a:gd name="T101" fmla="*/ 2147483647 h 1088"/>
                <a:gd name="T102" fmla="*/ 2147483647 w 1146"/>
                <a:gd name="T103" fmla="*/ 2147483647 h 1088"/>
                <a:gd name="T104" fmla="*/ 2147483647 w 1146"/>
                <a:gd name="T105" fmla="*/ 2147483647 h 1088"/>
                <a:gd name="T106" fmla="*/ 2147483647 w 1146"/>
                <a:gd name="T107" fmla="*/ 2147483647 h 1088"/>
                <a:gd name="T108" fmla="*/ 2147483647 w 1146"/>
                <a:gd name="T109" fmla="*/ 2147483647 h 1088"/>
                <a:gd name="T110" fmla="*/ 2147483647 w 1146"/>
                <a:gd name="T111" fmla="*/ 2147483647 h 1088"/>
                <a:gd name="T112" fmla="*/ 2147483647 w 1146"/>
                <a:gd name="T113" fmla="*/ 2147483647 h 1088"/>
                <a:gd name="T114" fmla="*/ 2147483647 w 1146"/>
                <a:gd name="T115" fmla="*/ 2147483647 h 1088"/>
                <a:gd name="T116" fmla="*/ 2147483647 w 1146"/>
                <a:gd name="T117" fmla="*/ 2147483647 h 10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46"/>
                <a:gd name="T178" fmla="*/ 0 h 1088"/>
                <a:gd name="T179" fmla="*/ 1146 w 1146"/>
                <a:gd name="T180" fmla="*/ 1088 h 10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46" h="1088">
                  <a:moveTo>
                    <a:pt x="1011" y="616"/>
                  </a:moveTo>
                  <a:lnTo>
                    <a:pt x="969" y="600"/>
                  </a:lnTo>
                  <a:lnTo>
                    <a:pt x="935" y="616"/>
                  </a:lnTo>
                  <a:lnTo>
                    <a:pt x="944" y="584"/>
                  </a:lnTo>
                  <a:lnTo>
                    <a:pt x="977" y="544"/>
                  </a:lnTo>
                  <a:lnTo>
                    <a:pt x="986" y="520"/>
                  </a:lnTo>
                  <a:lnTo>
                    <a:pt x="1011" y="504"/>
                  </a:lnTo>
                  <a:lnTo>
                    <a:pt x="1019" y="472"/>
                  </a:lnTo>
                  <a:lnTo>
                    <a:pt x="1053" y="464"/>
                  </a:lnTo>
                  <a:lnTo>
                    <a:pt x="1087" y="448"/>
                  </a:lnTo>
                  <a:lnTo>
                    <a:pt x="1104" y="360"/>
                  </a:lnTo>
                  <a:lnTo>
                    <a:pt x="1112" y="320"/>
                  </a:lnTo>
                  <a:lnTo>
                    <a:pt x="1146" y="288"/>
                  </a:lnTo>
                  <a:lnTo>
                    <a:pt x="1095" y="272"/>
                  </a:lnTo>
                  <a:lnTo>
                    <a:pt x="1036" y="256"/>
                  </a:lnTo>
                  <a:lnTo>
                    <a:pt x="1011" y="248"/>
                  </a:lnTo>
                  <a:lnTo>
                    <a:pt x="986" y="216"/>
                  </a:lnTo>
                  <a:lnTo>
                    <a:pt x="927" y="208"/>
                  </a:lnTo>
                  <a:lnTo>
                    <a:pt x="868" y="168"/>
                  </a:lnTo>
                  <a:lnTo>
                    <a:pt x="851" y="136"/>
                  </a:lnTo>
                  <a:lnTo>
                    <a:pt x="809" y="144"/>
                  </a:lnTo>
                  <a:lnTo>
                    <a:pt x="809" y="112"/>
                  </a:lnTo>
                  <a:lnTo>
                    <a:pt x="767" y="96"/>
                  </a:lnTo>
                  <a:lnTo>
                    <a:pt x="767" y="88"/>
                  </a:lnTo>
                  <a:lnTo>
                    <a:pt x="733" y="72"/>
                  </a:lnTo>
                  <a:lnTo>
                    <a:pt x="708" y="48"/>
                  </a:lnTo>
                  <a:lnTo>
                    <a:pt x="682" y="16"/>
                  </a:lnTo>
                  <a:lnTo>
                    <a:pt x="666" y="0"/>
                  </a:lnTo>
                  <a:lnTo>
                    <a:pt x="623" y="8"/>
                  </a:lnTo>
                  <a:lnTo>
                    <a:pt x="598" y="24"/>
                  </a:lnTo>
                  <a:lnTo>
                    <a:pt x="581" y="88"/>
                  </a:lnTo>
                  <a:lnTo>
                    <a:pt x="564" y="104"/>
                  </a:lnTo>
                  <a:lnTo>
                    <a:pt x="539" y="120"/>
                  </a:lnTo>
                  <a:lnTo>
                    <a:pt x="489" y="136"/>
                  </a:lnTo>
                  <a:lnTo>
                    <a:pt x="463" y="144"/>
                  </a:lnTo>
                  <a:lnTo>
                    <a:pt x="455" y="168"/>
                  </a:lnTo>
                  <a:lnTo>
                    <a:pt x="446" y="184"/>
                  </a:lnTo>
                  <a:lnTo>
                    <a:pt x="413" y="184"/>
                  </a:lnTo>
                  <a:lnTo>
                    <a:pt x="362" y="168"/>
                  </a:lnTo>
                  <a:lnTo>
                    <a:pt x="345" y="160"/>
                  </a:lnTo>
                  <a:lnTo>
                    <a:pt x="328" y="144"/>
                  </a:lnTo>
                  <a:lnTo>
                    <a:pt x="269" y="144"/>
                  </a:lnTo>
                  <a:lnTo>
                    <a:pt x="295" y="200"/>
                  </a:lnTo>
                  <a:lnTo>
                    <a:pt x="303" y="256"/>
                  </a:lnTo>
                  <a:lnTo>
                    <a:pt x="253" y="248"/>
                  </a:lnTo>
                  <a:lnTo>
                    <a:pt x="211" y="240"/>
                  </a:lnTo>
                  <a:lnTo>
                    <a:pt x="194" y="248"/>
                  </a:lnTo>
                  <a:lnTo>
                    <a:pt x="177" y="232"/>
                  </a:lnTo>
                  <a:lnTo>
                    <a:pt x="152" y="208"/>
                  </a:lnTo>
                  <a:lnTo>
                    <a:pt x="126" y="208"/>
                  </a:lnTo>
                  <a:lnTo>
                    <a:pt x="109" y="216"/>
                  </a:lnTo>
                  <a:lnTo>
                    <a:pt x="84" y="216"/>
                  </a:lnTo>
                  <a:lnTo>
                    <a:pt x="34" y="216"/>
                  </a:lnTo>
                  <a:lnTo>
                    <a:pt x="8" y="232"/>
                  </a:lnTo>
                  <a:lnTo>
                    <a:pt x="0" y="240"/>
                  </a:lnTo>
                  <a:lnTo>
                    <a:pt x="8" y="248"/>
                  </a:lnTo>
                  <a:lnTo>
                    <a:pt x="50" y="272"/>
                  </a:lnTo>
                  <a:lnTo>
                    <a:pt x="25" y="272"/>
                  </a:lnTo>
                  <a:lnTo>
                    <a:pt x="17" y="280"/>
                  </a:lnTo>
                  <a:lnTo>
                    <a:pt x="17" y="288"/>
                  </a:lnTo>
                  <a:lnTo>
                    <a:pt x="25" y="304"/>
                  </a:lnTo>
                  <a:lnTo>
                    <a:pt x="42" y="312"/>
                  </a:lnTo>
                  <a:lnTo>
                    <a:pt x="76" y="320"/>
                  </a:lnTo>
                  <a:lnTo>
                    <a:pt x="109" y="328"/>
                  </a:lnTo>
                  <a:lnTo>
                    <a:pt x="135" y="352"/>
                  </a:lnTo>
                  <a:lnTo>
                    <a:pt x="160" y="368"/>
                  </a:lnTo>
                  <a:lnTo>
                    <a:pt x="185" y="376"/>
                  </a:lnTo>
                  <a:lnTo>
                    <a:pt x="194" y="400"/>
                  </a:lnTo>
                  <a:lnTo>
                    <a:pt x="219" y="424"/>
                  </a:lnTo>
                  <a:lnTo>
                    <a:pt x="211" y="448"/>
                  </a:lnTo>
                  <a:lnTo>
                    <a:pt x="244" y="512"/>
                  </a:lnTo>
                  <a:lnTo>
                    <a:pt x="269" y="536"/>
                  </a:lnTo>
                  <a:lnTo>
                    <a:pt x="286" y="560"/>
                  </a:lnTo>
                  <a:lnTo>
                    <a:pt x="278" y="584"/>
                  </a:lnTo>
                  <a:lnTo>
                    <a:pt x="253" y="592"/>
                  </a:lnTo>
                  <a:lnTo>
                    <a:pt x="295" y="640"/>
                  </a:lnTo>
                  <a:lnTo>
                    <a:pt x="269" y="632"/>
                  </a:lnTo>
                  <a:lnTo>
                    <a:pt x="236" y="776"/>
                  </a:lnTo>
                  <a:lnTo>
                    <a:pt x="202" y="848"/>
                  </a:lnTo>
                  <a:lnTo>
                    <a:pt x="177" y="872"/>
                  </a:lnTo>
                  <a:lnTo>
                    <a:pt x="143" y="880"/>
                  </a:lnTo>
                  <a:lnTo>
                    <a:pt x="160" y="888"/>
                  </a:lnTo>
                  <a:lnTo>
                    <a:pt x="211" y="928"/>
                  </a:lnTo>
                  <a:lnTo>
                    <a:pt x="244" y="960"/>
                  </a:lnTo>
                  <a:lnTo>
                    <a:pt x="278" y="968"/>
                  </a:lnTo>
                  <a:lnTo>
                    <a:pt x="320" y="992"/>
                  </a:lnTo>
                  <a:lnTo>
                    <a:pt x="337" y="1016"/>
                  </a:lnTo>
                  <a:lnTo>
                    <a:pt x="396" y="1024"/>
                  </a:lnTo>
                  <a:lnTo>
                    <a:pt x="463" y="1032"/>
                  </a:lnTo>
                  <a:lnTo>
                    <a:pt x="522" y="1056"/>
                  </a:lnTo>
                  <a:lnTo>
                    <a:pt x="581" y="1072"/>
                  </a:lnTo>
                  <a:lnTo>
                    <a:pt x="607" y="1088"/>
                  </a:lnTo>
                  <a:lnTo>
                    <a:pt x="632" y="1080"/>
                  </a:lnTo>
                  <a:lnTo>
                    <a:pt x="640" y="1064"/>
                  </a:lnTo>
                  <a:lnTo>
                    <a:pt x="623" y="1032"/>
                  </a:lnTo>
                  <a:lnTo>
                    <a:pt x="632" y="992"/>
                  </a:lnTo>
                  <a:lnTo>
                    <a:pt x="649" y="968"/>
                  </a:lnTo>
                  <a:lnTo>
                    <a:pt x="682" y="944"/>
                  </a:lnTo>
                  <a:lnTo>
                    <a:pt x="716" y="928"/>
                  </a:lnTo>
                  <a:lnTo>
                    <a:pt x="750" y="928"/>
                  </a:lnTo>
                  <a:lnTo>
                    <a:pt x="842" y="952"/>
                  </a:lnTo>
                  <a:lnTo>
                    <a:pt x="876" y="968"/>
                  </a:lnTo>
                  <a:lnTo>
                    <a:pt x="910" y="984"/>
                  </a:lnTo>
                  <a:lnTo>
                    <a:pt x="944" y="984"/>
                  </a:lnTo>
                  <a:lnTo>
                    <a:pt x="960" y="976"/>
                  </a:lnTo>
                  <a:lnTo>
                    <a:pt x="969" y="968"/>
                  </a:lnTo>
                  <a:lnTo>
                    <a:pt x="977" y="960"/>
                  </a:lnTo>
                  <a:lnTo>
                    <a:pt x="1019" y="928"/>
                  </a:lnTo>
                  <a:lnTo>
                    <a:pt x="1070" y="904"/>
                  </a:lnTo>
                  <a:lnTo>
                    <a:pt x="1087" y="864"/>
                  </a:lnTo>
                  <a:lnTo>
                    <a:pt x="1011" y="832"/>
                  </a:lnTo>
                  <a:lnTo>
                    <a:pt x="1019" y="784"/>
                  </a:lnTo>
                  <a:lnTo>
                    <a:pt x="994" y="744"/>
                  </a:lnTo>
                  <a:lnTo>
                    <a:pt x="1036" y="720"/>
                  </a:lnTo>
                  <a:lnTo>
                    <a:pt x="1019" y="656"/>
                  </a:lnTo>
                  <a:lnTo>
                    <a:pt x="1036" y="656"/>
                  </a:lnTo>
                  <a:lnTo>
                    <a:pt x="1019" y="632"/>
                  </a:lnTo>
                  <a:lnTo>
                    <a:pt x="1011" y="61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4" name="FR"/>
            <p:cNvSpPr>
              <a:spLocks/>
            </p:cNvSpPr>
            <p:nvPr/>
          </p:nvSpPr>
          <p:spPr bwMode="auto">
            <a:xfrm>
              <a:off x="3704398" y="4228499"/>
              <a:ext cx="1602763" cy="1484425"/>
            </a:xfrm>
            <a:custGeom>
              <a:avLst/>
              <a:gdLst>
                <a:gd name="T0" fmla="*/ 2147483647 w 1146"/>
                <a:gd name="T1" fmla="*/ 2147483647 h 1088"/>
                <a:gd name="T2" fmla="*/ 2147483647 w 1146"/>
                <a:gd name="T3" fmla="*/ 2147483647 h 1088"/>
                <a:gd name="T4" fmla="*/ 2147483647 w 1146"/>
                <a:gd name="T5" fmla="*/ 2147483647 h 1088"/>
                <a:gd name="T6" fmla="*/ 2147483647 w 1146"/>
                <a:gd name="T7" fmla="*/ 2147483647 h 1088"/>
                <a:gd name="T8" fmla="*/ 2147483647 w 1146"/>
                <a:gd name="T9" fmla="*/ 2147483647 h 1088"/>
                <a:gd name="T10" fmla="*/ 2147483647 w 1146"/>
                <a:gd name="T11" fmla="*/ 2147483647 h 1088"/>
                <a:gd name="T12" fmla="*/ 2147483647 w 1146"/>
                <a:gd name="T13" fmla="*/ 2147483647 h 1088"/>
                <a:gd name="T14" fmla="*/ 2147483647 w 1146"/>
                <a:gd name="T15" fmla="*/ 2147483647 h 1088"/>
                <a:gd name="T16" fmla="*/ 2147483647 w 1146"/>
                <a:gd name="T17" fmla="*/ 2147483647 h 1088"/>
                <a:gd name="T18" fmla="*/ 2147483647 w 1146"/>
                <a:gd name="T19" fmla="*/ 2147483647 h 1088"/>
                <a:gd name="T20" fmla="*/ 2147483647 w 1146"/>
                <a:gd name="T21" fmla="*/ 2147483647 h 1088"/>
                <a:gd name="T22" fmla="*/ 2147483647 w 1146"/>
                <a:gd name="T23" fmla="*/ 2147483647 h 1088"/>
                <a:gd name="T24" fmla="*/ 2147483647 w 1146"/>
                <a:gd name="T25" fmla="*/ 2147483647 h 1088"/>
                <a:gd name="T26" fmla="*/ 2147483647 w 1146"/>
                <a:gd name="T27" fmla="*/ 0 h 1088"/>
                <a:gd name="T28" fmla="*/ 2147483647 w 1146"/>
                <a:gd name="T29" fmla="*/ 2147483647 h 1088"/>
                <a:gd name="T30" fmla="*/ 2147483647 w 1146"/>
                <a:gd name="T31" fmla="*/ 2147483647 h 1088"/>
                <a:gd name="T32" fmla="*/ 2147483647 w 1146"/>
                <a:gd name="T33" fmla="*/ 2147483647 h 1088"/>
                <a:gd name="T34" fmla="*/ 2147483647 w 1146"/>
                <a:gd name="T35" fmla="*/ 2147483647 h 1088"/>
                <a:gd name="T36" fmla="*/ 2147483647 w 1146"/>
                <a:gd name="T37" fmla="*/ 2147483647 h 1088"/>
                <a:gd name="T38" fmla="*/ 2147483647 w 1146"/>
                <a:gd name="T39" fmla="*/ 2147483647 h 1088"/>
                <a:gd name="T40" fmla="*/ 2147483647 w 1146"/>
                <a:gd name="T41" fmla="*/ 2147483647 h 1088"/>
                <a:gd name="T42" fmla="*/ 2147483647 w 1146"/>
                <a:gd name="T43" fmla="*/ 2147483647 h 1088"/>
                <a:gd name="T44" fmla="*/ 2147483647 w 1146"/>
                <a:gd name="T45" fmla="*/ 2147483647 h 1088"/>
                <a:gd name="T46" fmla="*/ 2147483647 w 1146"/>
                <a:gd name="T47" fmla="*/ 2147483647 h 1088"/>
                <a:gd name="T48" fmla="*/ 2147483647 w 1146"/>
                <a:gd name="T49" fmla="*/ 2147483647 h 1088"/>
                <a:gd name="T50" fmla="*/ 2147483647 w 1146"/>
                <a:gd name="T51" fmla="*/ 2147483647 h 1088"/>
                <a:gd name="T52" fmla="*/ 2147483647 w 1146"/>
                <a:gd name="T53" fmla="*/ 2147483647 h 1088"/>
                <a:gd name="T54" fmla="*/ 2147483647 w 1146"/>
                <a:gd name="T55" fmla="*/ 2147483647 h 1088"/>
                <a:gd name="T56" fmla="*/ 2147483647 w 1146"/>
                <a:gd name="T57" fmla="*/ 2147483647 h 1088"/>
                <a:gd name="T58" fmla="*/ 2147483647 w 1146"/>
                <a:gd name="T59" fmla="*/ 2147483647 h 1088"/>
                <a:gd name="T60" fmla="*/ 2147483647 w 1146"/>
                <a:gd name="T61" fmla="*/ 2147483647 h 1088"/>
                <a:gd name="T62" fmla="*/ 2147483647 w 1146"/>
                <a:gd name="T63" fmla="*/ 2147483647 h 1088"/>
                <a:gd name="T64" fmla="*/ 2147483647 w 1146"/>
                <a:gd name="T65" fmla="*/ 2147483647 h 1088"/>
                <a:gd name="T66" fmla="*/ 2147483647 w 1146"/>
                <a:gd name="T67" fmla="*/ 2147483647 h 1088"/>
                <a:gd name="T68" fmla="*/ 2147483647 w 1146"/>
                <a:gd name="T69" fmla="*/ 2147483647 h 1088"/>
                <a:gd name="T70" fmla="*/ 2147483647 w 1146"/>
                <a:gd name="T71" fmla="*/ 2147483647 h 1088"/>
                <a:gd name="T72" fmla="*/ 2147483647 w 1146"/>
                <a:gd name="T73" fmla="*/ 2147483647 h 1088"/>
                <a:gd name="T74" fmla="*/ 2147483647 w 1146"/>
                <a:gd name="T75" fmla="*/ 2147483647 h 1088"/>
                <a:gd name="T76" fmla="*/ 2147483647 w 1146"/>
                <a:gd name="T77" fmla="*/ 2147483647 h 1088"/>
                <a:gd name="T78" fmla="*/ 2147483647 w 1146"/>
                <a:gd name="T79" fmla="*/ 2147483647 h 1088"/>
                <a:gd name="T80" fmla="*/ 2147483647 w 1146"/>
                <a:gd name="T81" fmla="*/ 2147483647 h 1088"/>
                <a:gd name="T82" fmla="*/ 2147483647 w 1146"/>
                <a:gd name="T83" fmla="*/ 2147483647 h 1088"/>
                <a:gd name="T84" fmla="*/ 2147483647 w 1146"/>
                <a:gd name="T85" fmla="*/ 2147483647 h 1088"/>
                <a:gd name="T86" fmla="*/ 2147483647 w 1146"/>
                <a:gd name="T87" fmla="*/ 2147483647 h 1088"/>
                <a:gd name="T88" fmla="*/ 2147483647 w 1146"/>
                <a:gd name="T89" fmla="*/ 2147483647 h 1088"/>
                <a:gd name="T90" fmla="*/ 2147483647 w 1146"/>
                <a:gd name="T91" fmla="*/ 2147483647 h 1088"/>
                <a:gd name="T92" fmla="*/ 2147483647 w 1146"/>
                <a:gd name="T93" fmla="*/ 2147483647 h 1088"/>
                <a:gd name="T94" fmla="*/ 2147483647 w 1146"/>
                <a:gd name="T95" fmla="*/ 2147483647 h 1088"/>
                <a:gd name="T96" fmla="*/ 2147483647 w 1146"/>
                <a:gd name="T97" fmla="*/ 2147483647 h 1088"/>
                <a:gd name="T98" fmla="*/ 2147483647 w 1146"/>
                <a:gd name="T99" fmla="*/ 2147483647 h 1088"/>
                <a:gd name="T100" fmla="*/ 2147483647 w 1146"/>
                <a:gd name="T101" fmla="*/ 2147483647 h 1088"/>
                <a:gd name="T102" fmla="*/ 2147483647 w 1146"/>
                <a:gd name="T103" fmla="*/ 2147483647 h 1088"/>
                <a:gd name="T104" fmla="*/ 2147483647 w 1146"/>
                <a:gd name="T105" fmla="*/ 2147483647 h 1088"/>
                <a:gd name="T106" fmla="*/ 2147483647 w 1146"/>
                <a:gd name="T107" fmla="*/ 2147483647 h 1088"/>
                <a:gd name="T108" fmla="*/ 2147483647 w 1146"/>
                <a:gd name="T109" fmla="*/ 2147483647 h 1088"/>
                <a:gd name="T110" fmla="*/ 2147483647 w 1146"/>
                <a:gd name="T111" fmla="*/ 2147483647 h 1088"/>
                <a:gd name="T112" fmla="*/ 2147483647 w 1146"/>
                <a:gd name="T113" fmla="*/ 2147483647 h 1088"/>
                <a:gd name="T114" fmla="*/ 2147483647 w 1146"/>
                <a:gd name="T115" fmla="*/ 2147483647 h 1088"/>
                <a:gd name="T116" fmla="*/ 2147483647 w 1146"/>
                <a:gd name="T117" fmla="*/ 2147483647 h 10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46"/>
                <a:gd name="T178" fmla="*/ 0 h 1088"/>
                <a:gd name="T179" fmla="*/ 1146 w 1146"/>
                <a:gd name="T180" fmla="*/ 1088 h 10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46" h="1088">
                  <a:moveTo>
                    <a:pt x="1011" y="616"/>
                  </a:moveTo>
                  <a:lnTo>
                    <a:pt x="969" y="600"/>
                  </a:lnTo>
                  <a:lnTo>
                    <a:pt x="935" y="616"/>
                  </a:lnTo>
                  <a:lnTo>
                    <a:pt x="944" y="584"/>
                  </a:lnTo>
                  <a:lnTo>
                    <a:pt x="977" y="544"/>
                  </a:lnTo>
                  <a:lnTo>
                    <a:pt x="986" y="520"/>
                  </a:lnTo>
                  <a:lnTo>
                    <a:pt x="1011" y="504"/>
                  </a:lnTo>
                  <a:lnTo>
                    <a:pt x="1019" y="472"/>
                  </a:lnTo>
                  <a:lnTo>
                    <a:pt x="1053" y="464"/>
                  </a:lnTo>
                  <a:lnTo>
                    <a:pt x="1087" y="448"/>
                  </a:lnTo>
                  <a:lnTo>
                    <a:pt x="1104" y="360"/>
                  </a:lnTo>
                  <a:lnTo>
                    <a:pt x="1112" y="320"/>
                  </a:lnTo>
                  <a:lnTo>
                    <a:pt x="1146" y="288"/>
                  </a:lnTo>
                  <a:lnTo>
                    <a:pt x="1095" y="272"/>
                  </a:lnTo>
                  <a:lnTo>
                    <a:pt x="1036" y="256"/>
                  </a:lnTo>
                  <a:lnTo>
                    <a:pt x="1011" y="248"/>
                  </a:lnTo>
                  <a:lnTo>
                    <a:pt x="986" y="216"/>
                  </a:lnTo>
                  <a:lnTo>
                    <a:pt x="927" y="208"/>
                  </a:lnTo>
                  <a:lnTo>
                    <a:pt x="868" y="168"/>
                  </a:lnTo>
                  <a:lnTo>
                    <a:pt x="851" y="136"/>
                  </a:lnTo>
                  <a:lnTo>
                    <a:pt x="809" y="144"/>
                  </a:lnTo>
                  <a:lnTo>
                    <a:pt x="809" y="112"/>
                  </a:lnTo>
                  <a:lnTo>
                    <a:pt x="767" y="96"/>
                  </a:lnTo>
                  <a:lnTo>
                    <a:pt x="767" y="88"/>
                  </a:lnTo>
                  <a:lnTo>
                    <a:pt x="733" y="72"/>
                  </a:lnTo>
                  <a:lnTo>
                    <a:pt x="708" y="48"/>
                  </a:lnTo>
                  <a:lnTo>
                    <a:pt x="682" y="16"/>
                  </a:lnTo>
                  <a:lnTo>
                    <a:pt x="666" y="0"/>
                  </a:lnTo>
                  <a:lnTo>
                    <a:pt x="623" y="8"/>
                  </a:lnTo>
                  <a:lnTo>
                    <a:pt x="598" y="24"/>
                  </a:lnTo>
                  <a:lnTo>
                    <a:pt x="581" y="88"/>
                  </a:lnTo>
                  <a:lnTo>
                    <a:pt x="564" y="104"/>
                  </a:lnTo>
                  <a:lnTo>
                    <a:pt x="539" y="120"/>
                  </a:lnTo>
                  <a:lnTo>
                    <a:pt x="489" y="136"/>
                  </a:lnTo>
                  <a:lnTo>
                    <a:pt x="463" y="144"/>
                  </a:lnTo>
                  <a:lnTo>
                    <a:pt x="455" y="168"/>
                  </a:lnTo>
                  <a:lnTo>
                    <a:pt x="446" y="184"/>
                  </a:lnTo>
                  <a:lnTo>
                    <a:pt x="413" y="184"/>
                  </a:lnTo>
                  <a:lnTo>
                    <a:pt x="362" y="168"/>
                  </a:lnTo>
                  <a:lnTo>
                    <a:pt x="345" y="160"/>
                  </a:lnTo>
                  <a:lnTo>
                    <a:pt x="328" y="144"/>
                  </a:lnTo>
                  <a:lnTo>
                    <a:pt x="269" y="144"/>
                  </a:lnTo>
                  <a:lnTo>
                    <a:pt x="295" y="200"/>
                  </a:lnTo>
                  <a:lnTo>
                    <a:pt x="303" y="256"/>
                  </a:lnTo>
                  <a:lnTo>
                    <a:pt x="253" y="248"/>
                  </a:lnTo>
                  <a:lnTo>
                    <a:pt x="211" y="240"/>
                  </a:lnTo>
                  <a:lnTo>
                    <a:pt x="194" y="248"/>
                  </a:lnTo>
                  <a:lnTo>
                    <a:pt x="177" y="232"/>
                  </a:lnTo>
                  <a:lnTo>
                    <a:pt x="152" y="208"/>
                  </a:lnTo>
                  <a:lnTo>
                    <a:pt x="126" y="208"/>
                  </a:lnTo>
                  <a:lnTo>
                    <a:pt x="109" y="216"/>
                  </a:lnTo>
                  <a:lnTo>
                    <a:pt x="84" y="216"/>
                  </a:lnTo>
                  <a:lnTo>
                    <a:pt x="34" y="216"/>
                  </a:lnTo>
                  <a:lnTo>
                    <a:pt x="8" y="232"/>
                  </a:lnTo>
                  <a:lnTo>
                    <a:pt x="0" y="240"/>
                  </a:lnTo>
                  <a:lnTo>
                    <a:pt x="8" y="248"/>
                  </a:lnTo>
                  <a:lnTo>
                    <a:pt x="50" y="272"/>
                  </a:lnTo>
                  <a:lnTo>
                    <a:pt x="25" y="272"/>
                  </a:lnTo>
                  <a:lnTo>
                    <a:pt x="17" y="280"/>
                  </a:lnTo>
                  <a:lnTo>
                    <a:pt x="17" y="288"/>
                  </a:lnTo>
                  <a:lnTo>
                    <a:pt x="25" y="304"/>
                  </a:lnTo>
                  <a:lnTo>
                    <a:pt x="42" y="312"/>
                  </a:lnTo>
                  <a:lnTo>
                    <a:pt x="76" y="320"/>
                  </a:lnTo>
                  <a:lnTo>
                    <a:pt x="109" y="328"/>
                  </a:lnTo>
                  <a:lnTo>
                    <a:pt x="135" y="352"/>
                  </a:lnTo>
                  <a:lnTo>
                    <a:pt x="160" y="368"/>
                  </a:lnTo>
                  <a:lnTo>
                    <a:pt x="185" y="376"/>
                  </a:lnTo>
                  <a:lnTo>
                    <a:pt x="194" y="400"/>
                  </a:lnTo>
                  <a:lnTo>
                    <a:pt x="219" y="424"/>
                  </a:lnTo>
                  <a:lnTo>
                    <a:pt x="211" y="448"/>
                  </a:lnTo>
                  <a:lnTo>
                    <a:pt x="244" y="512"/>
                  </a:lnTo>
                  <a:lnTo>
                    <a:pt x="269" y="536"/>
                  </a:lnTo>
                  <a:lnTo>
                    <a:pt x="286" y="560"/>
                  </a:lnTo>
                  <a:lnTo>
                    <a:pt x="278" y="584"/>
                  </a:lnTo>
                  <a:lnTo>
                    <a:pt x="253" y="592"/>
                  </a:lnTo>
                  <a:lnTo>
                    <a:pt x="295" y="640"/>
                  </a:lnTo>
                  <a:lnTo>
                    <a:pt x="269" y="632"/>
                  </a:lnTo>
                  <a:lnTo>
                    <a:pt x="236" y="776"/>
                  </a:lnTo>
                  <a:lnTo>
                    <a:pt x="202" y="848"/>
                  </a:lnTo>
                  <a:lnTo>
                    <a:pt x="177" y="872"/>
                  </a:lnTo>
                  <a:lnTo>
                    <a:pt x="143" y="880"/>
                  </a:lnTo>
                  <a:lnTo>
                    <a:pt x="160" y="888"/>
                  </a:lnTo>
                  <a:lnTo>
                    <a:pt x="211" y="928"/>
                  </a:lnTo>
                  <a:lnTo>
                    <a:pt x="244" y="960"/>
                  </a:lnTo>
                  <a:lnTo>
                    <a:pt x="278" y="968"/>
                  </a:lnTo>
                  <a:lnTo>
                    <a:pt x="320" y="992"/>
                  </a:lnTo>
                  <a:lnTo>
                    <a:pt x="337" y="1016"/>
                  </a:lnTo>
                  <a:lnTo>
                    <a:pt x="396" y="1024"/>
                  </a:lnTo>
                  <a:lnTo>
                    <a:pt x="463" y="1032"/>
                  </a:lnTo>
                  <a:lnTo>
                    <a:pt x="522" y="1056"/>
                  </a:lnTo>
                  <a:lnTo>
                    <a:pt x="581" y="1072"/>
                  </a:lnTo>
                  <a:lnTo>
                    <a:pt x="607" y="1088"/>
                  </a:lnTo>
                  <a:lnTo>
                    <a:pt x="632" y="1080"/>
                  </a:lnTo>
                  <a:lnTo>
                    <a:pt x="640" y="1064"/>
                  </a:lnTo>
                  <a:lnTo>
                    <a:pt x="623" y="1032"/>
                  </a:lnTo>
                  <a:lnTo>
                    <a:pt x="632" y="992"/>
                  </a:lnTo>
                  <a:lnTo>
                    <a:pt x="649" y="968"/>
                  </a:lnTo>
                  <a:lnTo>
                    <a:pt x="682" y="944"/>
                  </a:lnTo>
                  <a:lnTo>
                    <a:pt x="716" y="928"/>
                  </a:lnTo>
                  <a:lnTo>
                    <a:pt x="750" y="928"/>
                  </a:lnTo>
                  <a:lnTo>
                    <a:pt x="842" y="952"/>
                  </a:lnTo>
                  <a:lnTo>
                    <a:pt x="876" y="968"/>
                  </a:lnTo>
                  <a:lnTo>
                    <a:pt x="910" y="984"/>
                  </a:lnTo>
                  <a:lnTo>
                    <a:pt x="944" y="984"/>
                  </a:lnTo>
                  <a:lnTo>
                    <a:pt x="960" y="976"/>
                  </a:lnTo>
                  <a:lnTo>
                    <a:pt x="969" y="968"/>
                  </a:lnTo>
                  <a:lnTo>
                    <a:pt x="977" y="960"/>
                  </a:lnTo>
                  <a:lnTo>
                    <a:pt x="1019" y="928"/>
                  </a:lnTo>
                  <a:lnTo>
                    <a:pt x="1070" y="904"/>
                  </a:lnTo>
                  <a:lnTo>
                    <a:pt x="1087" y="864"/>
                  </a:lnTo>
                  <a:lnTo>
                    <a:pt x="1011" y="832"/>
                  </a:lnTo>
                  <a:lnTo>
                    <a:pt x="1019" y="784"/>
                  </a:lnTo>
                  <a:lnTo>
                    <a:pt x="994" y="744"/>
                  </a:lnTo>
                  <a:lnTo>
                    <a:pt x="1036" y="720"/>
                  </a:lnTo>
                  <a:lnTo>
                    <a:pt x="1019" y="656"/>
                  </a:lnTo>
                  <a:lnTo>
                    <a:pt x="1036" y="656"/>
                  </a:lnTo>
                  <a:lnTo>
                    <a:pt x="1019" y="632"/>
                  </a:lnTo>
                  <a:lnTo>
                    <a:pt x="1011" y="616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5" name="Freeform 34"/>
            <p:cNvSpPr>
              <a:spLocks/>
            </p:cNvSpPr>
            <p:nvPr/>
          </p:nvSpPr>
          <p:spPr bwMode="auto">
            <a:xfrm>
              <a:off x="5024106" y="4414286"/>
              <a:ext cx="82711" cy="108845"/>
            </a:xfrm>
            <a:custGeom>
              <a:avLst/>
              <a:gdLst>
                <a:gd name="T0" fmla="*/ 2147483647 w 59"/>
                <a:gd name="T1" fmla="*/ 2147483647 h 80"/>
                <a:gd name="T2" fmla="*/ 2147483647 w 59"/>
                <a:gd name="T3" fmla="*/ 0 h 80"/>
                <a:gd name="T4" fmla="*/ 2147483647 w 59"/>
                <a:gd name="T5" fmla="*/ 2147483647 h 80"/>
                <a:gd name="T6" fmla="*/ 0 w 59"/>
                <a:gd name="T7" fmla="*/ 2147483647 h 80"/>
                <a:gd name="T8" fmla="*/ 0 w 59"/>
                <a:gd name="T9" fmla="*/ 2147483647 h 80"/>
                <a:gd name="T10" fmla="*/ 0 w 59"/>
                <a:gd name="T11" fmla="*/ 2147483647 h 80"/>
                <a:gd name="T12" fmla="*/ 2147483647 w 59"/>
                <a:gd name="T13" fmla="*/ 2147483647 h 80"/>
                <a:gd name="T14" fmla="*/ 2147483647 w 59"/>
                <a:gd name="T15" fmla="*/ 2147483647 h 80"/>
                <a:gd name="T16" fmla="*/ 2147483647 w 59"/>
                <a:gd name="T17" fmla="*/ 2147483647 h 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9"/>
                <a:gd name="T28" fmla="*/ 0 h 80"/>
                <a:gd name="T29" fmla="*/ 59 w 59"/>
                <a:gd name="T30" fmla="*/ 80 h 8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9" h="80">
                  <a:moveTo>
                    <a:pt x="25" y="24"/>
                  </a:moveTo>
                  <a:lnTo>
                    <a:pt x="25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42" y="80"/>
                  </a:lnTo>
                  <a:lnTo>
                    <a:pt x="59" y="48"/>
                  </a:lnTo>
                  <a:lnTo>
                    <a:pt x="25" y="24"/>
                  </a:lnTo>
                  <a:close/>
                </a:path>
              </a:pathLst>
            </a:custGeom>
            <a:solidFill>
              <a:srgbClr val="FFBF27">
                <a:lumMod val="60000"/>
                <a:lumOff val="4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6" name="Freeform 35"/>
            <p:cNvSpPr>
              <a:spLocks/>
            </p:cNvSpPr>
            <p:nvPr/>
          </p:nvSpPr>
          <p:spPr bwMode="auto">
            <a:xfrm>
              <a:off x="4741048" y="3868183"/>
              <a:ext cx="470536" cy="435382"/>
            </a:xfrm>
            <a:custGeom>
              <a:avLst/>
              <a:gdLst>
                <a:gd name="T0" fmla="*/ 2147483647 w 337"/>
                <a:gd name="T1" fmla="*/ 2147483647 h 320"/>
                <a:gd name="T2" fmla="*/ 2147483647 w 337"/>
                <a:gd name="T3" fmla="*/ 2147483647 h 320"/>
                <a:gd name="T4" fmla="*/ 2147483647 w 337"/>
                <a:gd name="T5" fmla="*/ 2147483647 h 320"/>
                <a:gd name="T6" fmla="*/ 2147483647 w 337"/>
                <a:gd name="T7" fmla="*/ 2147483647 h 320"/>
                <a:gd name="T8" fmla="*/ 2147483647 w 337"/>
                <a:gd name="T9" fmla="*/ 2147483647 h 320"/>
                <a:gd name="T10" fmla="*/ 2147483647 w 337"/>
                <a:gd name="T11" fmla="*/ 2147483647 h 320"/>
                <a:gd name="T12" fmla="*/ 2147483647 w 337"/>
                <a:gd name="T13" fmla="*/ 2147483647 h 320"/>
                <a:gd name="T14" fmla="*/ 2147483647 w 337"/>
                <a:gd name="T15" fmla="*/ 2147483647 h 320"/>
                <a:gd name="T16" fmla="*/ 2147483647 w 337"/>
                <a:gd name="T17" fmla="*/ 2147483647 h 320"/>
                <a:gd name="T18" fmla="*/ 2147483647 w 337"/>
                <a:gd name="T19" fmla="*/ 2147483647 h 320"/>
                <a:gd name="T20" fmla="*/ 2147483647 w 337"/>
                <a:gd name="T21" fmla="*/ 2147483647 h 320"/>
                <a:gd name="T22" fmla="*/ 2147483647 w 337"/>
                <a:gd name="T23" fmla="*/ 2147483647 h 320"/>
                <a:gd name="T24" fmla="*/ 2147483647 w 337"/>
                <a:gd name="T25" fmla="*/ 0 h 320"/>
                <a:gd name="T26" fmla="*/ 2147483647 w 337"/>
                <a:gd name="T27" fmla="*/ 0 h 320"/>
                <a:gd name="T28" fmla="*/ 2147483647 w 337"/>
                <a:gd name="T29" fmla="*/ 2147483647 h 320"/>
                <a:gd name="T30" fmla="*/ 2147483647 w 337"/>
                <a:gd name="T31" fmla="*/ 2147483647 h 320"/>
                <a:gd name="T32" fmla="*/ 2147483647 w 337"/>
                <a:gd name="T33" fmla="*/ 2147483647 h 320"/>
                <a:gd name="T34" fmla="*/ 2147483647 w 337"/>
                <a:gd name="T35" fmla="*/ 2147483647 h 320"/>
                <a:gd name="T36" fmla="*/ 2147483647 w 337"/>
                <a:gd name="T37" fmla="*/ 2147483647 h 320"/>
                <a:gd name="T38" fmla="*/ 2147483647 w 337"/>
                <a:gd name="T39" fmla="*/ 2147483647 h 320"/>
                <a:gd name="T40" fmla="*/ 2147483647 w 337"/>
                <a:gd name="T41" fmla="*/ 2147483647 h 320"/>
                <a:gd name="T42" fmla="*/ 2147483647 w 337"/>
                <a:gd name="T43" fmla="*/ 2147483647 h 320"/>
                <a:gd name="T44" fmla="*/ 2147483647 w 337"/>
                <a:gd name="T45" fmla="*/ 2147483647 h 320"/>
                <a:gd name="T46" fmla="*/ 2147483647 w 337"/>
                <a:gd name="T47" fmla="*/ 2147483647 h 320"/>
                <a:gd name="T48" fmla="*/ 2147483647 w 337"/>
                <a:gd name="T49" fmla="*/ 2147483647 h 320"/>
                <a:gd name="T50" fmla="*/ 2147483647 w 337"/>
                <a:gd name="T51" fmla="*/ 2147483647 h 320"/>
                <a:gd name="T52" fmla="*/ 2147483647 w 337"/>
                <a:gd name="T53" fmla="*/ 2147483647 h 320"/>
                <a:gd name="T54" fmla="*/ 2147483647 w 337"/>
                <a:gd name="T55" fmla="*/ 2147483647 h 320"/>
                <a:gd name="T56" fmla="*/ 2147483647 w 337"/>
                <a:gd name="T57" fmla="*/ 2147483647 h 320"/>
                <a:gd name="T58" fmla="*/ 2147483647 w 337"/>
                <a:gd name="T59" fmla="*/ 2147483647 h 320"/>
                <a:gd name="T60" fmla="*/ 2147483647 w 337"/>
                <a:gd name="T61" fmla="*/ 2147483647 h 320"/>
                <a:gd name="T62" fmla="*/ 2147483647 w 337"/>
                <a:gd name="T63" fmla="*/ 2147483647 h 320"/>
                <a:gd name="T64" fmla="*/ 0 w 337"/>
                <a:gd name="T65" fmla="*/ 2147483647 h 320"/>
                <a:gd name="T66" fmla="*/ 2147483647 w 337"/>
                <a:gd name="T67" fmla="*/ 2147483647 h 320"/>
                <a:gd name="T68" fmla="*/ 2147483647 w 337"/>
                <a:gd name="T69" fmla="*/ 2147483647 h 320"/>
                <a:gd name="T70" fmla="*/ 2147483647 w 337"/>
                <a:gd name="T71" fmla="*/ 2147483647 h 320"/>
                <a:gd name="T72" fmla="*/ 2147483647 w 337"/>
                <a:gd name="T73" fmla="*/ 2147483647 h 320"/>
                <a:gd name="T74" fmla="*/ 2147483647 w 337"/>
                <a:gd name="T75" fmla="*/ 2147483647 h 320"/>
                <a:gd name="T76" fmla="*/ 2147483647 w 337"/>
                <a:gd name="T77" fmla="*/ 2147483647 h 320"/>
                <a:gd name="T78" fmla="*/ 2147483647 w 337"/>
                <a:gd name="T79" fmla="*/ 2147483647 h 320"/>
                <a:gd name="T80" fmla="*/ 2147483647 w 337"/>
                <a:gd name="T81" fmla="*/ 2147483647 h 320"/>
                <a:gd name="T82" fmla="*/ 2147483647 w 337"/>
                <a:gd name="T83" fmla="*/ 2147483647 h 320"/>
                <a:gd name="T84" fmla="*/ 2147483647 w 337"/>
                <a:gd name="T85" fmla="*/ 2147483647 h 3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37"/>
                <a:gd name="T130" fmla="*/ 0 h 320"/>
                <a:gd name="T131" fmla="*/ 337 w 337"/>
                <a:gd name="T132" fmla="*/ 320 h 3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37" h="320">
                  <a:moveTo>
                    <a:pt x="236" y="280"/>
                  </a:moveTo>
                  <a:lnTo>
                    <a:pt x="236" y="232"/>
                  </a:lnTo>
                  <a:lnTo>
                    <a:pt x="236" y="200"/>
                  </a:lnTo>
                  <a:lnTo>
                    <a:pt x="287" y="192"/>
                  </a:lnTo>
                  <a:lnTo>
                    <a:pt x="287" y="168"/>
                  </a:lnTo>
                  <a:lnTo>
                    <a:pt x="312" y="160"/>
                  </a:lnTo>
                  <a:lnTo>
                    <a:pt x="321" y="128"/>
                  </a:lnTo>
                  <a:lnTo>
                    <a:pt x="295" y="104"/>
                  </a:lnTo>
                  <a:lnTo>
                    <a:pt x="321" y="96"/>
                  </a:lnTo>
                  <a:lnTo>
                    <a:pt x="337" y="56"/>
                  </a:lnTo>
                  <a:lnTo>
                    <a:pt x="329" y="16"/>
                  </a:lnTo>
                  <a:lnTo>
                    <a:pt x="321" y="16"/>
                  </a:lnTo>
                  <a:lnTo>
                    <a:pt x="304" y="0"/>
                  </a:lnTo>
                  <a:lnTo>
                    <a:pt x="278" y="0"/>
                  </a:lnTo>
                  <a:lnTo>
                    <a:pt x="219" y="16"/>
                  </a:lnTo>
                  <a:lnTo>
                    <a:pt x="203" y="24"/>
                  </a:lnTo>
                  <a:lnTo>
                    <a:pt x="194" y="48"/>
                  </a:lnTo>
                  <a:lnTo>
                    <a:pt x="203" y="72"/>
                  </a:lnTo>
                  <a:lnTo>
                    <a:pt x="219" y="96"/>
                  </a:lnTo>
                  <a:lnTo>
                    <a:pt x="228" y="112"/>
                  </a:lnTo>
                  <a:lnTo>
                    <a:pt x="211" y="128"/>
                  </a:lnTo>
                  <a:lnTo>
                    <a:pt x="186" y="136"/>
                  </a:lnTo>
                  <a:lnTo>
                    <a:pt x="160" y="120"/>
                  </a:lnTo>
                  <a:lnTo>
                    <a:pt x="169" y="72"/>
                  </a:lnTo>
                  <a:lnTo>
                    <a:pt x="160" y="56"/>
                  </a:lnTo>
                  <a:lnTo>
                    <a:pt x="152" y="32"/>
                  </a:lnTo>
                  <a:lnTo>
                    <a:pt x="110" y="128"/>
                  </a:lnTo>
                  <a:lnTo>
                    <a:pt x="76" y="168"/>
                  </a:lnTo>
                  <a:lnTo>
                    <a:pt x="68" y="216"/>
                  </a:lnTo>
                  <a:lnTo>
                    <a:pt x="42" y="216"/>
                  </a:lnTo>
                  <a:lnTo>
                    <a:pt x="34" y="216"/>
                  </a:lnTo>
                  <a:lnTo>
                    <a:pt x="26" y="232"/>
                  </a:lnTo>
                  <a:lnTo>
                    <a:pt x="0" y="240"/>
                  </a:lnTo>
                  <a:lnTo>
                    <a:pt x="26" y="256"/>
                  </a:lnTo>
                  <a:lnTo>
                    <a:pt x="59" y="264"/>
                  </a:lnTo>
                  <a:lnTo>
                    <a:pt x="93" y="248"/>
                  </a:lnTo>
                  <a:lnTo>
                    <a:pt x="144" y="256"/>
                  </a:lnTo>
                  <a:lnTo>
                    <a:pt x="186" y="264"/>
                  </a:lnTo>
                  <a:lnTo>
                    <a:pt x="203" y="288"/>
                  </a:lnTo>
                  <a:lnTo>
                    <a:pt x="194" y="312"/>
                  </a:lnTo>
                  <a:lnTo>
                    <a:pt x="219" y="320"/>
                  </a:lnTo>
                  <a:lnTo>
                    <a:pt x="219" y="296"/>
                  </a:lnTo>
                  <a:lnTo>
                    <a:pt x="236" y="280"/>
                  </a:lnTo>
                  <a:close/>
                </a:path>
              </a:pathLst>
            </a:custGeom>
            <a:solidFill>
              <a:srgbClr val="FFBF27">
                <a:lumMod val="60000"/>
                <a:lumOff val="4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7" name="LU"/>
            <p:cNvSpPr>
              <a:spLocks/>
            </p:cNvSpPr>
            <p:nvPr/>
          </p:nvSpPr>
          <p:spPr bwMode="auto">
            <a:xfrm>
              <a:off x="5024106" y="4414286"/>
              <a:ext cx="82711" cy="108845"/>
            </a:xfrm>
            <a:custGeom>
              <a:avLst/>
              <a:gdLst>
                <a:gd name="T0" fmla="*/ 2147483647 w 59"/>
                <a:gd name="T1" fmla="*/ 2147483647 h 80"/>
                <a:gd name="T2" fmla="*/ 2147483647 w 59"/>
                <a:gd name="T3" fmla="*/ 0 h 80"/>
                <a:gd name="T4" fmla="*/ 2147483647 w 59"/>
                <a:gd name="T5" fmla="*/ 2147483647 h 80"/>
                <a:gd name="T6" fmla="*/ 0 w 59"/>
                <a:gd name="T7" fmla="*/ 2147483647 h 80"/>
                <a:gd name="T8" fmla="*/ 0 w 59"/>
                <a:gd name="T9" fmla="*/ 2147483647 h 80"/>
                <a:gd name="T10" fmla="*/ 0 w 59"/>
                <a:gd name="T11" fmla="*/ 2147483647 h 80"/>
                <a:gd name="T12" fmla="*/ 2147483647 w 59"/>
                <a:gd name="T13" fmla="*/ 2147483647 h 80"/>
                <a:gd name="T14" fmla="*/ 2147483647 w 59"/>
                <a:gd name="T15" fmla="*/ 2147483647 h 80"/>
                <a:gd name="T16" fmla="*/ 2147483647 w 59"/>
                <a:gd name="T17" fmla="*/ 2147483647 h 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9"/>
                <a:gd name="T28" fmla="*/ 0 h 80"/>
                <a:gd name="T29" fmla="*/ 59 w 59"/>
                <a:gd name="T30" fmla="*/ 80 h 8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9" h="80">
                  <a:moveTo>
                    <a:pt x="25" y="24"/>
                  </a:moveTo>
                  <a:lnTo>
                    <a:pt x="25" y="0"/>
                  </a:lnTo>
                  <a:lnTo>
                    <a:pt x="8" y="8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0" y="72"/>
                  </a:lnTo>
                  <a:lnTo>
                    <a:pt x="42" y="80"/>
                  </a:lnTo>
                  <a:lnTo>
                    <a:pt x="59" y="48"/>
                  </a:lnTo>
                  <a:lnTo>
                    <a:pt x="25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8" name="NL"/>
            <p:cNvSpPr>
              <a:spLocks/>
            </p:cNvSpPr>
            <p:nvPr/>
          </p:nvSpPr>
          <p:spPr bwMode="auto">
            <a:xfrm>
              <a:off x="4741048" y="3868183"/>
              <a:ext cx="470536" cy="435382"/>
            </a:xfrm>
            <a:custGeom>
              <a:avLst/>
              <a:gdLst>
                <a:gd name="T0" fmla="*/ 2147483647 w 337"/>
                <a:gd name="T1" fmla="*/ 2147483647 h 320"/>
                <a:gd name="T2" fmla="*/ 2147483647 w 337"/>
                <a:gd name="T3" fmla="*/ 2147483647 h 320"/>
                <a:gd name="T4" fmla="*/ 2147483647 w 337"/>
                <a:gd name="T5" fmla="*/ 2147483647 h 320"/>
                <a:gd name="T6" fmla="*/ 2147483647 w 337"/>
                <a:gd name="T7" fmla="*/ 2147483647 h 320"/>
                <a:gd name="T8" fmla="*/ 2147483647 w 337"/>
                <a:gd name="T9" fmla="*/ 2147483647 h 320"/>
                <a:gd name="T10" fmla="*/ 2147483647 w 337"/>
                <a:gd name="T11" fmla="*/ 2147483647 h 320"/>
                <a:gd name="T12" fmla="*/ 2147483647 w 337"/>
                <a:gd name="T13" fmla="*/ 2147483647 h 320"/>
                <a:gd name="T14" fmla="*/ 2147483647 w 337"/>
                <a:gd name="T15" fmla="*/ 2147483647 h 320"/>
                <a:gd name="T16" fmla="*/ 2147483647 w 337"/>
                <a:gd name="T17" fmla="*/ 2147483647 h 320"/>
                <a:gd name="T18" fmla="*/ 2147483647 w 337"/>
                <a:gd name="T19" fmla="*/ 2147483647 h 320"/>
                <a:gd name="T20" fmla="*/ 2147483647 w 337"/>
                <a:gd name="T21" fmla="*/ 2147483647 h 320"/>
                <a:gd name="T22" fmla="*/ 2147483647 w 337"/>
                <a:gd name="T23" fmla="*/ 2147483647 h 320"/>
                <a:gd name="T24" fmla="*/ 2147483647 w 337"/>
                <a:gd name="T25" fmla="*/ 0 h 320"/>
                <a:gd name="T26" fmla="*/ 2147483647 w 337"/>
                <a:gd name="T27" fmla="*/ 0 h 320"/>
                <a:gd name="T28" fmla="*/ 2147483647 w 337"/>
                <a:gd name="T29" fmla="*/ 2147483647 h 320"/>
                <a:gd name="T30" fmla="*/ 2147483647 w 337"/>
                <a:gd name="T31" fmla="*/ 2147483647 h 320"/>
                <a:gd name="T32" fmla="*/ 2147483647 w 337"/>
                <a:gd name="T33" fmla="*/ 2147483647 h 320"/>
                <a:gd name="T34" fmla="*/ 2147483647 w 337"/>
                <a:gd name="T35" fmla="*/ 2147483647 h 320"/>
                <a:gd name="T36" fmla="*/ 2147483647 w 337"/>
                <a:gd name="T37" fmla="*/ 2147483647 h 320"/>
                <a:gd name="T38" fmla="*/ 2147483647 w 337"/>
                <a:gd name="T39" fmla="*/ 2147483647 h 320"/>
                <a:gd name="T40" fmla="*/ 2147483647 w 337"/>
                <a:gd name="T41" fmla="*/ 2147483647 h 320"/>
                <a:gd name="T42" fmla="*/ 2147483647 w 337"/>
                <a:gd name="T43" fmla="*/ 2147483647 h 320"/>
                <a:gd name="T44" fmla="*/ 2147483647 w 337"/>
                <a:gd name="T45" fmla="*/ 2147483647 h 320"/>
                <a:gd name="T46" fmla="*/ 2147483647 w 337"/>
                <a:gd name="T47" fmla="*/ 2147483647 h 320"/>
                <a:gd name="T48" fmla="*/ 2147483647 w 337"/>
                <a:gd name="T49" fmla="*/ 2147483647 h 320"/>
                <a:gd name="T50" fmla="*/ 2147483647 w 337"/>
                <a:gd name="T51" fmla="*/ 2147483647 h 320"/>
                <a:gd name="T52" fmla="*/ 2147483647 w 337"/>
                <a:gd name="T53" fmla="*/ 2147483647 h 320"/>
                <a:gd name="T54" fmla="*/ 2147483647 w 337"/>
                <a:gd name="T55" fmla="*/ 2147483647 h 320"/>
                <a:gd name="T56" fmla="*/ 2147483647 w 337"/>
                <a:gd name="T57" fmla="*/ 2147483647 h 320"/>
                <a:gd name="T58" fmla="*/ 2147483647 w 337"/>
                <a:gd name="T59" fmla="*/ 2147483647 h 320"/>
                <a:gd name="T60" fmla="*/ 2147483647 w 337"/>
                <a:gd name="T61" fmla="*/ 2147483647 h 320"/>
                <a:gd name="T62" fmla="*/ 2147483647 w 337"/>
                <a:gd name="T63" fmla="*/ 2147483647 h 320"/>
                <a:gd name="T64" fmla="*/ 0 w 337"/>
                <a:gd name="T65" fmla="*/ 2147483647 h 320"/>
                <a:gd name="T66" fmla="*/ 2147483647 w 337"/>
                <a:gd name="T67" fmla="*/ 2147483647 h 320"/>
                <a:gd name="T68" fmla="*/ 2147483647 w 337"/>
                <a:gd name="T69" fmla="*/ 2147483647 h 320"/>
                <a:gd name="T70" fmla="*/ 2147483647 w 337"/>
                <a:gd name="T71" fmla="*/ 2147483647 h 320"/>
                <a:gd name="T72" fmla="*/ 2147483647 w 337"/>
                <a:gd name="T73" fmla="*/ 2147483647 h 320"/>
                <a:gd name="T74" fmla="*/ 2147483647 w 337"/>
                <a:gd name="T75" fmla="*/ 2147483647 h 320"/>
                <a:gd name="T76" fmla="*/ 2147483647 w 337"/>
                <a:gd name="T77" fmla="*/ 2147483647 h 320"/>
                <a:gd name="T78" fmla="*/ 2147483647 w 337"/>
                <a:gd name="T79" fmla="*/ 2147483647 h 320"/>
                <a:gd name="T80" fmla="*/ 2147483647 w 337"/>
                <a:gd name="T81" fmla="*/ 2147483647 h 320"/>
                <a:gd name="T82" fmla="*/ 2147483647 w 337"/>
                <a:gd name="T83" fmla="*/ 2147483647 h 320"/>
                <a:gd name="T84" fmla="*/ 2147483647 w 337"/>
                <a:gd name="T85" fmla="*/ 2147483647 h 3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37"/>
                <a:gd name="T130" fmla="*/ 0 h 320"/>
                <a:gd name="T131" fmla="*/ 337 w 337"/>
                <a:gd name="T132" fmla="*/ 320 h 3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37" h="320">
                  <a:moveTo>
                    <a:pt x="236" y="280"/>
                  </a:moveTo>
                  <a:lnTo>
                    <a:pt x="236" y="232"/>
                  </a:lnTo>
                  <a:lnTo>
                    <a:pt x="236" y="200"/>
                  </a:lnTo>
                  <a:lnTo>
                    <a:pt x="287" y="192"/>
                  </a:lnTo>
                  <a:lnTo>
                    <a:pt x="287" y="168"/>
                  </a:lnTo>
                  <a:lnTo>
                    <a:pt x="312" y="160"/>
                  </a:lnTo>
                  <a:lnTo>
                    <a:pt x="321" y="128"/>
                  </a:lnTo>
                  <a:lnTo>
                    <a:pt x="295" y="104"/>
                  </a:lnTo>
                  <a:lnTo>
                    <a:pt x="321" y="96"/>
                  </a:lnTo>
                  <a:lnTo>
                    <a:pt x="337" y="56"/>
                  </a:lnTo>
                  <a:lnTo>
                    <a:pt x="329" y="16"/>
                  </a:lnTo>
                  <a:lnTo>
                    <a:pt x="321" y="16"/>
                  </a:lnTo>
                  <a:lnTo>
                    <a:pt x="304" y="0"/>
                  </a:lnTo>
                  <a:lnTo>
                    <a:pt x="278" y="0"/>
                  </a:lnTo>
                  <a:lnTo>
                    <a:pt x="219" y="16"/>
                  </a:lnTo>
                  <a:lnTo>
                    <a:pt x="203" y="24"/>
                  </a:lnTo>
                  <a:lnTo>
                    <a:pt x="194" y="48"/>
                  </a:lnTo>
                  <a:lnTo>
                    <a:pt x="203" y="72"/>
                  </a:lnTo>
                  <a:lnTo>
                    <a:pt x="219" y="96"/>
                  </a:lnTo>
                  <a:lnTo>
                    <a:pt x="228" y="112"/>
                  </a:lnTo>
                  <a:lnTo>
                    <a:pt x="211" y="128"/>
                  </a:lnTo>
                  <a:lnTo>
                    <a:pt x="186" y="136"/>
                  </a:lnTo>
                  <a:lnTo>
                    <a:pt x="160" y="120"/>
                  </a:lnTo>
                  <a:lnTo>
                    <a:pt x="169" y="72"/>
                  </a:lnTo>
                  <a:lnTo>
                    <a:pt x="160" y="56"/>
                  </a:lnTo>
                  <a:lnTo>
                    <a:pt x="152" y="32"/>
                  </a:lnTo>
                  <a:lnTo>
                    <a:pt x="110" y="128"/>
                  </a:lnTo>
                  <a:lnTo>
                    <a:pt x="76" y="168"/>
                  </a:lnTo>
                  <a:lnTo>
                    <a:pt x="68" y="216"/>
                  </a:lnTo>
                  <a:lnTo>
                    <a:pt x="42" y="216"/>
                  </a:lnTo>
                  <a:lnTo>
                    <a:pt x="34" y="216"/>
                  </a:lnTo>
                  <a:lnTo>
                    <a:pt x="26" y="232"/>
                  </a:lnTo>
                  <a:lnTo>
                    <a:pt x="0" y="240"/>
                  </a:lnTo>
                  <a:lnTo>
                    <a:pt x="26" y="256"/>
                  </a:lnTo>
                  <a:lnTo>
                    <a:pt x="59" y="264"/>
                  </a:lnTo>
                  <a:lnTo>
                    <a:pt x="93" y="248"/>
                  </a:lnTo>
                  <a:lnTo>
                    <a:pt x="144" y="256"/>
                  </a:lnTo>
                  <a:lnTo>
                    <a:pt x="186" y="264"/>
                  </a:lnTo>
                  <a:lnTo>
                    <a:pt x="203" y="288"/>
                  </a:lnTo>
                  <a:lnTo>
                    <a:pt x="194" y="312"/>
                  </a:lnTo>
                  <a:lnTo>
                    <a:pt x="219" y="320"/>
                  </a:lnTo>
                  <a:lnTo>
                    <a:pt x="219" y="296"/>
                  </a:lnTo>
                  <a:lnTo>
                    <a:pt x="236" y="280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49" name="Freeform 38"/>
            <p:cNvSpPr>
              <a:spLocks/>
            </p:cNvSpPr>
            <p:nvPr/>
          </p:nvSpPr>
          <p:spPr bwMode="auto">
            <a:xfrm>
              <a:off x="5318190" y="3201975"/>
              <a:ext cx="294086" cy="467283"/>
            </a:xfrm>
            <a:custGeom>
              <a:avLst/>
              <a:gdLst>
                <a:gd name="T0" fmla="*/ 2147483647 w 211"/>
                <a:gd name="T1" fmla="*/ 2147483647 h 344"/>
                <a:gd name="T2" fmla="*/ 2147483647 w 211"/>
                <a:gd name="T3" fmla="*/ 2147483647 h 344"/>
                <a:gd name="T4" fmla="*/ 2147483647 w 211"/>
                <a:gd name="T5" fmla="*/ 2147483647 h 344"/>
                <a:gd name="T6" fmla="*/ 2147483647 w 211"/>
                <a:gd name="T7" fmla="*/ 2147483647 h 344"/>
                <a:gd name="T8" fmla="*/ 2147483647 w 211"/>
                <a:gd name="T9" fmla="*/ 2147483647 h 344"/>
                <a:gd name="T10" fmla="*/ 2147483647 w 211"/>
                <a:gd name="T11" fmla="*/ 2147483647 h 344"/>
                <a:gd name="T12" fmla="*/ 2147483647 w 211"/>
                <a:gd name="T13" fmla="*/ 2147483647 h 344"/>
                <a:gd name="T14" fmla="*/ 2147483647 w 211"/>
                <a:gd name="T15" fmla="*/ 2147483647 h 344"/>
                <a:gd name="T16" fmla="*/ 2147483647 w 211"/>
                <a:gd name="T17" fmla="*/ 2147483647 h 344"/>
                <a:gd name="T18" fmla="*/ 2147483647 w 211"/>
                <a:gd name="T19" fmla="*/ 2147483647 h 344"/>
                <a:gd name="T20" fmla="*/ 2147483647 w 211"/>
                <a:gd name="T21" fmla="*/ 2147483647 h 344"/>
                <a:gd name="T22" fmla="*/ 2147483647 w 211"/>
                <a:gd name="T23" fmla="*/ 2147483647 h 344"/>
                <a:gd name="T24" fmla="*/ 2147483647 w 211"/>
                <a:gd name="T25" fmla="*/ 0 h 344"/>
                <a:gd name="T26" fmla="*/ 2147483647 w 211"/>
                <a:gd name="T27" fmla="*/ 2147483647 h 344"/>
                <a:gd name="T28" fmla="*/ 2147483647 w 211"/>
                <a:gd name="T29" fmla="*/ 2147483647 h 344"/>
                <a:gd name="T30" fmla="*/ 2147483647 w 211"/>
                <a:gd name="T31" fmla="*/ 2147483647 h 344"/>
                <a:gd name="T32" fmla="*/ 2147483647 w 211"/>
                <a:gd name="T33" fmla="*/ 2147483647 h 344"/>
                <a:gd name="T34" fmla="*/ 2147483647 w 211"/>
                <a:gd name="T35" fmla="*/ 2147483647 h 344"/>
                <a:gd name="T36" fmla="*/ 2147483647 w 211"/>
                <a:gd name="T37" fmla="*/ 2147483647 h 344"/>
                <a:gd name="T38" fmla="*/ 2147483647 w 211"/>
                <a:gd name="T39" fmla="*/ 2147483647 h 344"/>
                <a:gd name="T40" fmla="*/ 2147483647 w 211"/>
                <a:gd name="T41" fmla="*/ 2147483647 h 344"/>
                <a:gd name="T42" fmla="*/ 2147483647 w 211"/>
                <a:gd name="T43" fmla="*/ 2147483647 h 344"/>
                <a:gd name="T44" fmla="*/ 2147483647 w 211"/>
                <a:gd name="T45" fmla="*/ 2147483647 h 344"/>
                <a:gd name="T46" fmla="*/ 2147483647 w 211"/>
                <a:gd name="T47" fmla="*/ 2147483647 h 344"/>
                <a:gd name="T48" fmla="*/ 2147483647 w 211"/>
                <a:gd name="T49" fmla="*/ 2147483647 h 344"/>
                <a:gd name="T50" fmla="*/ 0 w 211"/>
                <a:gd name="T51" fmla="*/ 2147483647 h 344"/>
                <a:gd name="T52" fmla="*/ 0 w 211"/>
                <a:gd name="T53" fmla="*/ 2147483647 h 344"/>
                <a:gd name="T54" fmla="*/ 2147483647 w 211"/>
                <a:gd name="T55" fmla="*/ 2147483647 h 344"/>
                <a:gd name="T56" fmla="*/ 2147483647 w 211"/>
                <a:gd name="T57" fmla="*/ 2147483647 h 344"/>
                <a:gd name="T58" fmla="*/ 2147483647 w 211"/>
                <a:gd name="T59" fmla="*/ 2147483647 h 344"/>
                <a:gd name="T60" fmla="*/ 2147483647 w 211"/>
                <a:gd name="T61" fmla="*/ 2147483647 h 344"/>
                <a:gd name="T62" fmla="*/ 2147483647 w 211"/>
                <a:gd name="T63" fmla="*/ 2147483647 h 344"/>
                <a:gd name="T64" fmla="*/ 2147483647 w 211"/>
                <a:gd name="T65" fmla="*/ 2147483647 h 3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11"/>
                <a:gd name="T100" fmla="*/ 0 h 344"/>
                <a:gd name="T101" fmla="*/ 211 w 211"/>
                <a:gd name="T102" fmla="*/ 344 h 34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11" h="344">
                  <a:moveTo>
                    <a:pt x="143" y="344"/>
                  </a:moveTo>
                  <a:lnTo>
                    <a:pt x="118" y="312"/>
                  </a:lnTo>
                  <a:lnTo>
                    <a:pt x="143" y="312"/>
                  </a:lnTo>
                  <a:lnTo>
                    <a:pt x="127" y="280"/>
                  </a:lnTo>
                  <a:lnTo>
                    <a:pt x="127" y="248"/>
                  </a:lnTo>
                  <a:lnTo>
                    <a:pt x="169" y="184"/>
                  </a:lnTo>
                  <a:lnTo>
                    <a:pt x="186" y="192"/>
                  </a:lnTo>
                  <a:lnTo>
                    <a:pt x="211" y="136"/>
                  </a:lnTo>
                  <a:lnTo>
                    <a:pt x="177" y="112"/>
                  </a:lnTo>
                  <a:lnTo>
                    <a:pt x="169" y="72"/>
                  </a:lnTo>
                  <a:lnTo>
                    <a:pt x="177" y="24"/>
                  </a:lnTo>
                  <a:lnTo>
                    <a:pt x="177" y="8"/>
                  </a:lnTo>
                  <a:lnTo>
                    <a:pt x="160" y="0"/>
                  </a:lnTo>
                  <a:lnTo>
                    <a:pt x="135" y="8"/>
                  </a:lnTo>
                  <a:lnTo>
                    <a:pt x="127" y="24"/>
                  </a:lnTo>
                  <a:lnTo>
                    <a:pt x="101" y="40"/>
                  </a:lnTo>
                  <a:lnTo>
                    <a:pt x="76" y="48"/>
                  </a:lnTo>
                  <a:lnTo>
                    <a:pt x="51" y="56"/>
                  </a:lnTo>
                  <a:lnTo>
                    <a:pt x="34" y="72"/>
                  </a:lnTo>
                  <a:lnTo>
                    <a:pt x="26" y="96"/>
                  </a:lnTo>
                  <a:lnTo>
                    <a:pt x="42" y="112"/>
                  </a:lnTo>
                  <a:lnTo>
                    <a:pt x="17" y="120"/>
                  </a:lnTo>
                  <a:lnTo>
                    <a:pt x="9" y="144"/>
                  </a:lnTo>
                  <a:lnTo>
                    <a:pt x="9" y="168"/>
                  </a:lnTo>
                  <a:lnTo>
                    <a:pt x="26" y="192"/>
                  </a:lnTo>
                  <a:lnTo>
                    <a:pt x="0" y="208"/>
                  </a:lnTo>
                  <a:lnTo>
                    <a:pt x="0" y="224"/>
                  </a:lnTo>
                  <a:lnTo>
                    <a:pt x="26" y="272"/>
                  </a:lnTo>
                  <a:lnTo>
                    <a:pt x="42" y="256"/>
                  </a:lnTo>
                  <a:lnTo>
                    <a:pt x="51" y="304"/>
                  </a:lnTo>
                  <a:lnTo>
                    <a:pt x="59" y="328"/>
                  </a:lnTo>
                  <a:lnTo>
                    <a:pt x="84" y="336"/>
                  </a:lnTo>
                  <a:lnTo>
                    <a:pt x="143" y="344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0" name="Freeform 39"/>
            <p:cNvSpPr>
              <a:spLocks/>
            </p:cNvSpPr>
            <p:nvPr/>
          </p:nvSpPr>
          <p:spPr bwMode="auto">
            <a:xfrm>
              <a:off x="5053513" y="3663629"/>
              <a:ext cx="1049514" cy="1214187"/>
            </a:xfrm>
            <a:custGeom>
              <a:avLst/>
              <a:gdLst>
                <a:gd name="T0" fmla="*/ 2147483647 w 750"/>
                <a:gd name="T1" fmla="*/ 2147483647 h 888"/>
                <a:gd name="T2" fmla="*/ 2147483647 w 750"/>
                <a:gd name="T3" fmla="*/ 2147483647 h 888"/>
                <a:gd name="T4" fmla="*/ 2147483647 w 750"/>
                <a:gd name="T5" fmla="*/ 2147483647 h 888"/>
                <a:gd name="T6" fmla="*/ 2147483647 w 750"/>
                <a:gd name="T7" fmla="*/ 2147483647 h 888"/>
                <a:gd name="T8" fmla="*/ 2147483647 w 750"/>
                <a:gd name="T9" fmla="*/ 2147483647 h 888"/>
                <a:gd name="T10" fmla="*/ 2147483647 w 750"/>
                <a:gd name="T11" fmla="*/ 2147483647 h 888"/>
                <a:gd name="T12" fmla="*/ 2147483647 w 750"/>
                <a:gd name="T13" fmla="*/ 2147483647 h 888"/>
                <a:gd name="T14" fmla="*/ 2147483647 w 750"/>
                <a:gd name="T15" fmla="*/ 2147483647 h 888"/>
                <a:gd name="T16" fmla="*/ 2147483647 w 750"/>
                <a:gd name="T17" fmla="*/ 2147483647 h 888"/>
                <a:gd name="T18" fmla="*/ 2147483647 w 750"/>
                <a:gd name="T19" fmla="*/ 2147483647 h 888"/>
                <a:gd name="T20" fmla="*/ 2147483647 w 750"/>
                <a:gd name="T21" fmla="*/ 2147483647 h 888"/>
                <a:gd name="T22" fmla="*/ 2147483647 w 750"/>
                <a:gd name="T23" fmla="*/ 2147483647 h 888"/>
                <a:gd name="T24" fmla="*/ 2147483647 w 750"/>
                <a:gd name="T25" fmla="*/ 2147483647 h 888"/>
                <a:gd name="T26" fmla="*/ 2147483647 w 750"/>
                <a:gd name="T27" fmla="*/ 2147483647 h 888"/>
                <a:gd name="T28" fmla="*/ 2147483647 w 750"/>
                <a:gd name="T29" fmla="*/ 2147483647 h 888"/>
                <a:gd name="T30" fmla="*/ 2147483647 w 750"/>
                <a:gd name="T31" fmla="*/ 2147483647 h 888"/>
                <a:gd name="T32" fmla="*/ 2147483647 w 750"/>
                <a:gd name="T33" fmla="*/ 2147483647 h 888"/>
                <a:gd name="T34" fmla="*/ 2147483647 w 750"/>
                <a:gd name="T35" fmla="*/ 2147483647 h 888"/>
                <a:gd name="T36" fmla="*/ 2147483647 w 750"/>
                <a:gd name="T37" fmla="*/ 2147483647 h 888"/>
                <a:gd name="T38" fmla="*/ 2147483647 w 750"/>
                <a:gd name="T39" fmla="*/ 2147483647 h 888"/>
                <a:gd name="T40" fmla="*/ 2147483647 w 750"/>
                <a:gd name="T41" fmla="*/ 2147483647 h 888"/>
                <a:gd name="T42" fmla="*/ 2147483647 w 750"/>
                <a:gd name="T43" fmla="*/ 2147483647 h 888"/>
                <a:gd name="T44" fmla="*/ 2147483647 w 750"/>
                <a:gd name="T45" fmla="*/ 2147483647 h 888"/>
                <a:gd name="T46" fmla="*/ 2147483647 w 750"/>
                <a:gd name="T47" fmla="*/ 2147483647 h 888"/>
                <a:gd name="T48" fmla="*/ 2147483647 w 750"/>
                <a:gd name="T49" fmla="*/ 2147483647 h 888"/>
                <a:gd name="T50" fmla="*/ 2147483647 w 750"/>
                <a:gd name="T51" fmla="*/ 2147483647 h 888"/>
                <a:gd name="T52" fmla="*/ 2147483647 w 750"/>
                <a:gd name="T53" fmla="*/ 2147483647 h 888"/>
                <a:gd name="T54" fmla="*/ 2147483647 w 750"/>
                <a:gd name="T55" fmla="*/ 0 h 888"/>
                <a:gd name="T56" fmla="*/ 2147483647 w 750"/>
                <a:gd name="T57" fmla="*/ 2147483647 h 888"/>
                <a:gd name="T58" fmla="*/ 2147483647 w 750"/>
                <a:gd name="T59" fmla="*/ 2147483647 h 888"/>
                <a:gd name="T60" fmla="*/ 2147483647 w 750"/>
                <a:gd name="T61" fmla="*/ 2147483647 h 888"/>
                <a:gd name="T62" fmla="*/ 2147483647 w 750"/>
                <a:gd name="T63" fmla="*/ 2147483647 h 888"/>
                <a:gd name="T64" fmla="*/ 2147483647 w 750"/>
                <a:gd name="T65" fmla="*/ 2147483647 h 888"/>
                <a:gd name="T66" fmla="*/ 2147483647 w 750"/>
                <a:gd name="T67" fmla="*/ 2147483647 h 888"/>
                <a:gd name="T68" fmla="*/ 2147483647 w 750"/>
                <a:gd name="T69" fmla="*/ 2147483647 h 888"/>
                <a:gd name="T70" fmla="*/ 2147483647 w 750"/>
                <a:gd name="T71" fmla="*/ 2147483647 h 888"/>
                <a:gd name="T72" fmla="*/ 2147483647 w 750"/>
                <a:gd name="T73" fmla="*/ 2147483647 h 888"/>
                <a:gd name="T74" fmla="*/ 2147483647 w 750"/>
                <a:gd name="T75" fmla="*/ 2147483647 h 888"/>
                <a:gd name="T76" fmla="*/ 2147483647 w 750"/>
                <a:gd name="T77" fmla="*/ 2147483647 h 888"/>
                <a:gd name="T78" fmla="*/ 0 w 750"/>
                <a:gd name="T79" fmla="*/ 2147483647 h 888"/>
                <a:gd name="T80" fmla="*/ 2147483647 w 750"/>
                <a:gd name="T81" fmla="*/ 2147483647 h 888"/>
                <a:gd name="T82" fmla="*/ 2147483647 w 750"/>
                <a:gd name="T83" fmla="*/ 2147483647 h 888"/>
                <a:gd name="T84" fmla="*/ 2147483647 w 750"/>
                <a:gd name="T85" fmla="*/ 2147483647 h 888"/>
                <a:gd name="T86" fmla="*/ 2147483647 w 750"/>
                <a:gd name="T87" fmla="*/ 2147483647 h 888"/>
                <a:gd name="T88" fmla="*/ 2147483647 w 750"/>
                <a:gd name="T89" fmla="*/ 2147483647 h 888"/>
                <a:gd name="T90" fmla="*/ 2147483647 w 750"/>
                <a:gd name="T91" fmla="*/ 2147483647 h 888"/>
                <a:gd name="T92" fmla="*/ 2147483647 w 750"/>
                <a:gd name="T93" fmla="*/ 2147483647 h 888"/>
                <a:gd name="T94" fmla="*/ 2147483647 w 750"/>
                <a:gd name="T95" fmla="*/ 2147483647 h 888"/>
                <a:gd name="T96" fmla="*/ 2147483647 w 750"/>
                <a:gd name="T97" fmla="*/ 2147483647 h 88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50"/>
                <a:gd name="T148" fmla="*/ 0 h 888"/>
                <a:gd name="T149" fmla="*/ 750 w 750"/>
                <a:gd name="T150" fmla="*/ 888 h 88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50" h="888">
                  <a:moveTo>
                    <a:pt x="194" y="864"/>
                  </a:moveTo>
                  <a:lnTo>
                    <a:pt x="228" y="848"/>
                  </a:lnTo>
                  <a:lnTo>
                    <a:pt x="312" y="872"/>
                  </a:lnTo>
                  <a:lnTo>
                    <a:pt x="354" y="888"/>
                  </a:lnTo>
                  <a:lnTo>
                    <a:pt x="388" y="872"/>
                  </a:lnTo>
                  <a:lnTo>
                    <a:pt x="447" y="880"/>
                  </a:lnTo>
                  <a:lnTo>
                    <a:pt x="489" y="872"/>
                  </a:lnTo>
                  <a:lnTo>
                    <a:pt x="557" y="848"/>
                  </a:lnTo>
                  <a:lnTo>
                    <a:pt x="616" y="864"/>
                  </a:lnTo>
                  <a:lnTo>
                    <a:pt x="616" y="832"/>
                  </a:lnTo>
                  <a:lnTo>
                    <a:pt x="599" y="800"/>
                  </a:lnTo>
                  <a:lnTo>
                    <a:pt x="632" y="776"/>
                  </a:lnTo>
                  <a:lnTo>
                    <a:pt x="641" y="744"/>
                  </a:lnTo>
                  <a:lnTo>
                    <a:pt x="675" y="744"/>
                  </a:lnTo>
                  <a:lnTo>
                    <a:pt x="683" y="712"/>
                  </a:lnTo>
                  <a:lnTo>
                    <a:pt x="607" y="656"/>
                  </a:lnTo>
                  <a:lnTo>
                    <a:pt x="548" y="608"/>
                  </a:lnTo>
                  <a:lnTo>
                    <a:pt x="557" y="584"/>
                  </a:lnTo>
                  <a:lnTo>
                    <a:pt x="523" y="544"/>
                  </a:lnTo>
                  <a:lnTo>
                    <a:pt x="557" y="520"/>
                  </a:lnTo>
                  <a:lnTo>
                    <a:pt x="599" y="512"/>
                  </a:lnTo>
                  <a:lnTo>
                    <a:pt x="641" y="488"/>
                  </a:lnTo>
                  <a:lnTo>
                    <a:pt x="683" y="472"/>
                  </a:lnTo>
                  <a:lnTo>
                    <a:pt x="691" y="440"/>
                  </a:lnTo>
                  <a:lnTo>
                    <a:pt x="725" y="440"/>
                  </a:lnTo>
                  <a:lnTo>
                    <a:pt x="750" y="456"/>
                  </a:lnTo>
                  <a:lnTo>
                    <a:pt x="750" y="392"/>
                  </a:lnTo>
                  <a:lnTo>
                    <a:pt x="725" y="360"/>
                  </a:lnTo>
                  <a:lnTo>
                    <a:pt x="742" y="320"/>
                  </a:lnTo>
                  <a:lnTo>
                    <a:pt x="717" y="280"/>
                  </a:lnTo>
                  <a:lnTo>
                    <a:pt x="717" y="248"/>
                  </a:lnTo>
                  <a:lnTo>
                    <a:pt x="666" y="216"/>
                  </a:lnTo>
                  <a:lnTo>
                    <a:pt x="691" y="168"/>
                  </a:lnTo>
                  <a:lnTo>
                    <a:pt x="683" y="136"/>
                  </a:lnTo>
                  <a:lnTo>
                    <a:pt x="675" y="88"/>
                  </a:lnTo>
                  <a:lnTo>
                    <a:pt x="641" y="80"/>
                  </a:lnTo>
                  <a:lnTo>
                    <a:pt x="607" y="64"/>
                  </a:lnTo>
                  <a:lnTo>
                    <a:pt x="616" y="32"/>
                  </a:lnTo>
                  <a:lnTo>
                    <a:pt x="590" y="16"/>
                  </a:lnTo>
                  <a:lnTo>
                    <a:pt x="582" y="32"/>
                  </a:lnTo>
                  <a:lnTo>
                    <a:pt x="573" y="48"/>
                  </a:lnTo>
                  <a:lnTo>
                    <a:pt x="557" y="40"/>
                  </a:lnTo>
                  <a:lnTo>
                    <a:pt x="548" y="40"/>
                  </a:lnTo>
                  <a:lnTo>
                    <a:pt x="540" y="40"/>
                  </a:lnTo>
                  <a:lnTo>
                    <a:pt x="514" y="64"/>
                  </a:lnTo>
                  <a:lnTo>
                    <a:pt x="481" y="72"/>
                  </a:lnTo>
                  <a:lnTo>
                    <a:pt x="464" y="96"/>
                  </a:lnTo>
                  <a:lnTo>
                    <a:pt x="439" y="96"/>
                  </a:lnTo>
                  <a:lnTo>
                    <a:pt x="413" y="88"/>
                  </a:lnTo>
                  <a:lnTo>
                    <a:pt x="430" y="64"/>
                  </a:lnTo>
                  <a:lnTo>
                    <a:pt x="422" y="32"/>
                  </a:lnTo>
                  <a:lnTo>
                    <a:pt x="396" y="56"/>
                  </a:lnTo>
                  <a:lnTo>
                    <a:pt x="346" y="40"/>
                  </a:lnTo>
                  <a:lnTo>
                    <a:pt x="346" y="16"/>
                  </a:lnTo>
                  <a:lnTo>
                    <a:pt x="337" y="8"/>
                  </a:lnTo>
                  <a:lnTo>
                    <a:pt x="253" y="0"/>
                  </a:lnTo>
                  <a:lnTo>
                    <a:pt x="270" y="24"/>
                  </a:lnTo>
                  <a:lnTo>
                    <a:pt x="245" y="40"/>
                  </a:lnTo>
                  <a:lnTo>
                    <a:pt x="245" y="64"/>
                  </a:lnTo>
                  <a:lnTo>
                    <a:pt x="278" y="112"/>
                  </a:lnTo>
                  <a:lnTo>
                    <a:pt x="253" y="112"/>
                  </a:lnTo>
                  <a:lnTo>
                    <a:pt x="236" y="112"/>
                  </a:lnTo>
                  <a:lnTo>
                    <a:pt x="228" y="128"/>
                  </a:lnTo>
                  <a:lnTo>
                    <a:pt x="220" y="136"/>
                  </a:lnTo>
                  <a:lnTo>
                    <a:pt x="211" y="136"/>
                  </a:lnTo>
                  <a:lnTo>
                    <a:pt x="186" y="128"/>
                  </a:lnTo>
                  <a:lnTo>
                    <a:pt x="135" y="128"/>
                  </a:lnTo>
                  <a:lnTo>
                    <a:pt x="110" y="144"/>
                  </a:lnTo>
                  <a:lnTo>
                    <a:pt x="110" y="168"/>
                  </a:lnTo>
                  <a:lnTo>
                    <a:pt x="118" y="208"/>
                  </a:lnTo>
                  <a:lnTo>
                    <a:pt x="102" y="248"/>
                  </a:lnTo>
                  <a:lnTo>
                    <a:pt x="76" y="256"/>
                  </a:lnTo>
                  <a:lnTo>
                    <a:pt x="102" y="280"/>
                  </a:lnTo>
                  <a:lnTo>
                    <a:pt x="93" y="312"/>
                  </a:lnTo>
                  <a:lnTo>
                    <a:pt x="68" y="320"/>
                  </a:lnTo>
                  <a:lnTo>
                    <a:pt x="68" y="344"/>
                  </a:lnTo>
                  <a:lnTo>
                    <a:pt x="17" y="352"/>
                  </a:lnTo>
                  <a:lnTo>
                    <a:pt x="17" y="384"/>
                  </a:lnTo>
                  <a:lnTo>
                    <a:pt x="17" y="432"/>
                  </a:lnTo>
                  <a:lnTo>
                    <a:pt x="0" y="448"/>
                  </a:lnTo>
                  <a:lnTo>
                    <a:pt x="0" y="472"/>
                  </a:lnTo>
                  <a:lnTo>
                    <a:pt x="9" y="480"/>
                  </a:lnTo>
                  <a:lnTo>
                    <a:pt x="34" y="504"/>
                  </a:lnTo>
                  <a:lnTo>
                    <a:pt x="34" y="536"/>
                  </a:lnTo>
                  <a:lnTo>
                    <a:pt x="17" y="552"/>
                  </a:lnTo>
                  <a:lnTo>
                    <a:pt x="9" y="552"/>
                  </a:lnTo>
                  <a:lnTo>
                    <a:pt x="9" y="576"/>
                  </a:lnTo>
                  <a:lnTo>
                    <a:pt x="43" y="600"/>
                  </a:lnTo>
                  <a:lnTo>
                    <a:pt x="26" y="632"/>
                  </a:lnTo>
                  <a:lnTo>
                    <a:pt x="51" y="664"/>
                  </a:lnTo>
                  <a:lnTo>
                    <a:pt x="76" y="672"/>
                  </a:lnTo>
                  <a:lnTo>
                    <a:pt x="135" y="688"/>
                  </a:lnTo>
                  <a:lnTo>
                    <a:pt x="186" y="704"/>
                  </a:lnTo>
                  <a:lnTo>
                    <a:pt x="152" y="736"/>
                  </a:lnTo>
                  <a:lnTo>
                    <a:pt x="144" y="776"/>
                  </a:lnTo>
                  <a:lnTo>
                    <a:pt x="127" y="864"/>
                  </a:lnTo>
                  <a:lnTo>
                    <a:pt x="118" y="864"/>
                  </a:lnTo>
                  <a:lnTo>
                    <a:pt x="144" y="872"/>
                  </a:lnTo>
                  <a:lnTo>
                    <a:pt x="194" y="86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1" name="DK_W"/>
            <p:cNvSpPr>
              <a:spLocks/>
            </p:cNvSpPr>
            <p:nvPr/>
          </p:nvSpPr>
          <p:spPr bwMode="auto">
            <a:xfrm>
              <a:off x="5318190" y="3201975"/>
              <a:ext cx="294086" cy="467283"/>
            </a:xfrm>
            <a:custGeom>
              <a:avLst/>
              <a:gdLst>
                <a:gd name="T0" fmla="*/ 2147483647 w 211"/>
                <a:gd name="T1" fmla="*/ 2147483647 h 344"/>
                <a:gd name="T2" fmla="*/ 2147483647 w 211"/>
                <a:gd name="T3" fmla="*/ 2147483647 h 344"/>
                <a:gd name="T4" fmla="*/ 2147483647 w 211"/>
                <a:gd name="T5" fmla="*/ 2147483647 h 344"/>
                <a:gd name="T6" fmla="*/ 2147483647 w 211"/>
                <a:gd name="T7" fmla="*/ 2147483647 h 344"/>
                <a:gd name="T8" fmla="*/ 2147483647 w 211"/>
                <a:gd name="T9" fmla="*/ 2147483647 h 344"/>
                <a:gd name="T10" fmla="*/ 2147483647 w 211"/>
                <a:gd name="T11" fmla="*/ 2147483647 h 344"/>
                <a:gd name="T12" fmla="*/ 2147483647 w 211"/>
                <a:gd name="T13" fmla="*/ 2147483647 h 344"/>
                <a:gd name="T14" fmla="*/ 2147483647 w 211"/>
                <a:gd name="T15" fmla="*/ 2147483647 h 344"/>
                <a:gd name="T16" fmla="*/ 2147483647 w 211"/>
                <a:gd name="T17" fmla="*/ 2147483647 h 344"/>
                <a:gd name="T18" fmla="*/ 2147483647 w 211"/>
                <a:gd name="T19" fmla="*/ 2147483647 h 344"/>
                <a:gd name="T20" fmla="*/ 2147483647 w 211"/>
                <a:gd name="T21" fmla="*/ 2147483647 h 344"/>
                <a:gd name="T22" fmla="*/ 2147483647 w 211"/>
                <a:gd name="T23" fmla="*/ 2147483647 h 344"/>
                <a:gd name="T24" fmla="*/ 2147483647 w 211"/>
                <a:gd name="T25" fmla="*/ 0 h 344"/>
                <a:gd name="T26" fmla="*/ 2147483647 w 211"/>
                <a:gd name="T27" fmla="*/ 2147483647 h 344"/>
                <a:gd name="T28" fmla="*/ 2147483647 w 211"/>
                <a:gd name="T29" fmla="*/ 2147483647 h 344"/>
                <a:gd name="T30" fmla="*/ 2147483647 w 211"/>
                <a:gd name="T31" fmla="*/ 2147483647 h 344"/>
                <a:gd name="T32" fmla="*/ 2147483647 w 211"/>
                <a:gd name="T33" fmla="*/ 2147483647 h 344"/>
                <a:gd name="T34" fmla="*/ 2147483647 w 211"/>
                <a:gd name="T35" fmla="*/ 2147483647 h 344"/>
                <a:gd name="T36" fmla="*/ 2147483647 w 211"/>
                <a:gd name="T37" fmla="*/ 2147483647 h 344"/>
                <a:gd name="T38" fmla="*/ 2147483647 w 211"/>
                <a:gd name="T39" fmla="*/ 2147483647 h 344"/>
                <a:gd name="T40" fmla="*/ 2147483647 w 211"/>
                <a:gd name="T41" fmla="*/ 2147483647 h 344"/>
                <a:gd name="T42" fmla="*/ 2147483647 w 211"/>
                <a:gd name="T43" fmla="*/ 2147483647 h 344"/>
                <a:gd name="T44" fmla="*/ 2147483647 w 211"/>
                <a:gd name="T45" fmla="*/ 2147483647 h 344"/>
                <a:gd name="T46" fmla="*/ 2147483647 w 211"/>
                <a:gd name="T47" fmla="*/ 2147483647 h 344"/>
                <a:gd name="T48" fmla="*/ 2147483647 w 211"/>
                <a:gd name="T49" fmla="*/ 2147483647 h 344"/>
                <a:gd name="T50" fmla="*/ 0 w 211"/>
                <a:gd name="T51" fmla="*/ 2147483647 h 344"/>
                <a:gd name="T52" fmla="*/ 0 w 211"/>
                <a:gd name="T53" fmla="*/ 2147483647 h 344"/>
                <a:gd name="T54" fmla="*/ 2147483647 w 211"/>
                <a:gd name="T55" fmla="*/ 2147483647 h 344"/>
                <a:gd name="T56" fmla="*/ 2147483647 w 211"/>
                <a:gd name="T57" fmla="*/ 2147483647 h 344"/>
                <a:gd name="T58" fmla="*/ 2147483647 w 211"/>
                <a:gd name="T59" fmla="*/ 2147483647 h 344"/>
                <a:gd name="T60" fmla="*/ 2147483647 w 211"/>
                <a:gd name="T61" fmla="*/ 2147483647 h 344"/>
                <a:gd name="T62" fmla="*/ 2147483647 w 211"/>
                <a:gd name="T63" fmla="*/ 2147483647 h 344"/>
                <a:gd name="T64" fmla="*/ 2147483647 w 211"/>
                <a:gd name="T65" fmla="*/ 2147483647 h 3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11"/>
                <a:gd name="T100" fmla="*/ 0 h 344"/>
                <a:gd name="T101" fmla="*/ 211 w 211"/>
                <a:gd name="T102" fmla="*/ 344 h 34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11" h="344">
                  <a:moveTo>
                    <a:pt x="143" y="344"/>
                  </a:moveTo>
                  <a:lnTo>
                    <a:pt x="118" y="312"/>
                  </a:lnTo>
                  <a:lnTo>
                    <a:pt x="143" y="312"/>
                  </a:lnTo>
                  <a:lnTo>
                    <a:pt x="127" y="280"/>
                  </a:lnTo>
                  <a:lnTo>
                    <a:pt x="127" y="248"/>
                  </a:lnTo>
                  <a:lnTo>
                    <a:pt x="169" y="184"/>
                  </a:lnTo>
                  <a:lnTo>
                    <a:pt x="186" y="192"/>
                  </a:lnTo>
                  <a:lnTo>
                    <a:pt x="211" y="136"/>
                  </a:lnTo>
                  <a:lnTo>
                    <a:pt x="177" y="112"/>
                  </a:lnTo>
                  <a:lnTo>
                    <a:pt x="169" y="72"/>
                  </a:lnTo>
                  <a:lnTo>
                    <a:pt x="177" y="24"/>
                  </a:lnTo>
                  <a:lnTo>
                    <a:pt x="177" y="8"/>
                  </a:lnTo>
                  <a:lnTo>
                    <a:pt x="160" y="0"/>
                  </a:lnTo>
                  <a:lnTo>
                    <a:pt x="135" y="8"/>
                  </a:lnTo>
                  <a:lnTo>
                    <a:pt x="127" y="24"/>
                  </a:lnTo>
                  <a:lnTo>
                    <a:pt x="101" y="40"/>
                  </a:lnTo>
                  <a:lnTo>
                    <a:pt x="76" y="48"/>
                  </a:lnTo>
                  <a:lnTo>
                    <a:pt x="51" y="56"/>
                  </a:lnTo>
                  <a:lnTo>
                    <a:pt x="34" y="72"/>
                  </a:lnTo>
                  <a:lnTo>
                    <a:pt x="26" y="96"/>
                  </a:lnTo>
                  <a:lnTo>
                    <a:pt x="42" y="112"/>
                  </a:lnTo>
                  <a:lnTo>
                    <a:pt x="17" y="120"/>
                  </a:lnTo>
                  <a:lnTo>
                    <a:pt x="9" y="144"/>
                  </a:lnTo>
                  <a:lnTo>
                    <a:pt x="9" y="168"/>
                  </a:lnTo>
                  <a:lnTo>
                    <a:pt x="26" y="192"/>
                  </a:lnTo>
                  <a:lnTo>
                    <a:pt x="0" y="208"/>
                  </a:lnTo>
                  <a:lnTo>
                    <a:pt x="0" y="224"/>
                  </a:lnTo>
                  <a:lnTo>
                    <a:pt x="26" y="272"/>
                  </a:lnTo>
                  <a:lnTo>
                    <a:pt x="42" y="256"/>
                  </a:lnTo>
                  <a:lnTo>
                    <a:pt x="51" y="304"/>
                  </a:lnTo>
                  <a:lnTo>
                    <a:pt x="59" y="328"/>
                  </a:lnTo>
                  <a:lnTo>
                    <a:pt x="84" y="336"/>
                  </a:lnTo>
                  <a:lnTo>
                    <a:pt x="143" y="344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2" name="DE"/>
            <p:cNvSpPr>
              <a:spLocks/>
            </p:cNvSpPr>
            <p:nvPr/>
          </p:nvSpPr>
          <p:spPr bwMode="auto">
            <a:xfrm>
              <a:off x="5046163" y="3659877"/>
              <a:ext cx="1047677" cy="1212311"/>
            </a:xfrm>
            <a:custGeom>
              <a:avLst/>
              <a:gdLst>
                <a:gd name="T0" fmla="*/ 2147483647 w 750"/>
                <a:gd name="T1" fmla="*/ 2147483647 h 888"/>
                <a:gd name="T2" fmla="*/ 2147483647 w 750"/>
                <a:gd name="T3" fmla="*/ 2147483647 h 888"/>
                <a:gd name="T4" fmla="*/ 2147483647 w 750"/>
                <a:gd name="T5" fmla="*/ 2147483647 h 888"/>
                <a:gd name="T6" fmla="*/ 2147483647 w 750"/>
                <a:gd name="T7" fmla="*/ 2147483647 h 888"/>
                <a:gd name="T8" fmla="*/ 2147483647 w 750"/>
                <a:gd name="T9" fmla="*/ 2147483647 h 888"/>
                <a:gd name="T10" fmla="*/ 2147483647 w 750"/>
                <a:gd name="T11" fmla="*/ 2147483647 h 888"/>
                <a:gd name="T12" fmla="*/ 2147483647 w 750"/>
                <a:gd name="T13" fmla="*/ 2147483647 h 888"/>
                <a:gd name="T14" fmla="*/ 2147483647 w 750"/>
                <a:gd name="T15" fmla="*/ 2147483647 h 888"/>
                <a:gd name="T16" fmla="*/ 2147483647 w 750"/>
                <a:gd name="T17" fmla="*/ 2147483647 h 888"/>
                <a:gd name="T18" fmla="*/ 2147483647 w 750"/>
                <a:gd name="T19" fmla="*/ 2147483647 h 888"/>
                <a:gd name="T20" fmla="*/ 2147483647 w 750"/>
                <a:gd name="T21" fmla="*/ 2147483647 h 888"/>
                <a:gd name="T22" fmla="*/ 2147483647 w 750"/>
                <a:gd name="T23" fmla="*/ 2147483647 h 888"/>
                <a:gd name="T24" fmla="*/ 2147483647 w 750"/>
                <a:gd name="T25" fmla="*/ 2147483647 h 888"/>
                <a:gd name="T26" fmla="*/ 2147483647 w 750"/>
                <a:gd name="T27" fmla="*/ 2147483647 h 888"/>
                <a:gd name="T28" fmla="*/ 2147483647 w 750"/>
                <a:gd name="T29" fmla="*/ 2147483647 h 888"/>
                <a:gd name="T30" fmla="*/ 2147483647 w 750"/>
                <a:gd name="T31" fmla="*/ 2147483647 h 888"/>
                <a:gd name="T32" fmla="*/ 2147483647 w 750"/>
                <a:gd name="T33" fmla="*/ 2147483647 h 888"/>
                <a:gd name="T34" fmla="*/ 2147483647 w 750"/>
                <a:gd name="T35" fmla="*/ 2147483647 h 888"/>
                <a:gd name="T36" fmla="*/ 2147483647 w 750"/>
                <a:gd name="T37" fmla="*/ 2147483647 h 888"/>
                <a:gd name="T38" fmla="*/ 2147483647 w 750"/>
                <a:gd name="T39" fmla="*/ 2147483647 h 888"/>
                <a:gd name="T40" fmla="*/ 2147483647 w 750"/>
                <a:gd name="T41" fmla="*/ 2147483647 h 888"/>
                <a:gd name="T42" fmla="*/ 2147483647 w 750"/>
                <a:gd name="T43" fmla="*/ 2147483647 h 888"/>
                <a:gd name="T44" fmla="*/ 2147483647 w 750"/>
                <a:gd name="T45" fmla="*/ 2147483647 h 888"/>
                <a:gd name="T46" fmla="*/ 2147483647 w 750"/>
                <a:gd name="T47" fmla="*/ 2147483647 h 888"/>
                <a:gd name="T48" fmla="*/ 2147483647 w 750"/>
                <a:gd name="T49" fmla="*/ 2147483647 h 888"/>
                <a:gd name="T50" fmla="*/ 2147483647 w 750"/>
                <a:gd name="T51" fmla="*/ 2147483647 h 888"/>
                <a:gd name="T52" fmla="*/ 2147483647 w 750"/>
                <a:gd name="T53" fmla="*/ 2147483647 h 888"/>
                <a:gd name="T54" fmla="*/ 2147483647 w 750"/>
                <a:gd name="T55" fmla="*/ 0 h 888"/>
                <a:gd name="T56" fmla="*/ 2147483647 w 750"/>
                <a:gd name="T57" fmla="*/ 2147483647 h 888"/>
                <a:gd name="T58" fmla="*/ 2147483647 w 750"/>
                <a:gd name="T59" fmla="*/ 2147483647 h 888"/>
                <a:gd name="T60" fmla="*/ 2147483647 w 750"/>
                <a:gd name="T61" fmla="*/ 2147483647 h 888"/>
                <a:gd name="T62" fmla="*/ 2147483647 w 750"/>
                <a:gd name="T63" fmla="*/ 2147483647 h 888"/>
                <a:gd name="T64" fmla="*/ 2147483647 w 750"/>
                <a:gd name="T65" fmla="*/ 2147483647 h 888"/>
                <a:gd name="T66" fmla="*/ 2147483647 w 750"/>
                <a:gd name="T67" fmla="*/ 2147483647 h 888"/>
                <a:gd name="T68" fmla="*/ 2147483647 w 750"/>
                <a:gd name="T69" fmla="*/ 2147483647 h 888"/>
                <a:gd name="T70" fmla="*/ 2147483647 w 750"/>
                <a:gd name="T71" fmla="*/ 2147483647 h 888"/>
                <a:gd name="T72" fmla="*/ 2147483647 w 750"/>
                <a:gd name="T73" fmla="*/ 2147483647 h 888"/>
                <a:gd name="T74" fmla="*/ 2147483647 w 750"/>
                <a:gd name="T75" fmla="*/ 2147483647 h 888"/>
                <a:gd name="T76" fmla="*/ 2147483647 w 750"/>
                <a:gd name="T77" fmla="*/ 2147483647 h 888"/>
                <a:gd name="T78" fmla="*/ 0 w 750"/>
                <a:gd name="T79" fmla="*/ 2147483647 h 888"/>
                <a:gd name="T80" fmla="*/ 2147483647 w 750"/>
                <a:gd name="T81" fmla="*/ 2147483647 h 888"/>
                <a:gd name="T82" fmla="*/ 2147483647 w 750"/>
                <a:gd name="T83" fmla="*/ 2147483647 h 888"/>
                <a:gd name="T84" fmla="*/ 2147483647 w 750"/>
                <a:gd name="T85" fmla="*/ 2147483647 h 888"/>
                <a:gd name="T86" fmla="*/ 2147483647 w 750"/>
                <a:gd name="T87" fmla="*/ 2147483647 h 888"/>
                <a:gd name="T88" fmla="*/ 2147483647 w 750"/>
                <a:gd name="T89" fmla="*/ 2147483647 h 888"/>
                <a:gd name="T90" fmla="*/ 2147483647 w 750"/>
                <a:gd name="T91" fmla="*/ 2147483647 h 888"/>
                <a:gd name="T92" fmla="*/ 2147483647 w 750"/>
                <a:gd name="T93" fmla="*/ 2147483647 h 888"/>
                <a:gd name="T94" fmla="*/ 2147483647 w 750"/>
                <a:gd name="T95" fmla="*/ 2147483647 h 888"/>
                <a:gd name="T96" fmla="*/ 2147483647 w 750"/>
                <a:gd name="T97" fmla="*/ 2147483647 h 888"/>
                <a:gd name="T98" fmla="*/ 2147483647 w 750"/>
                <a:gd name="T99" fmla="*/ 2147483647 h 8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50"/>
                <a:gd name="T151" fmla="*/ 0 h 888"/>
                <a:gd name="T152" fmla="*/ 750 w 750"/>
                <a:gd name="T153" fmla="*/ 888 h 8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50" h="888">
                  <a:moveTo>
                    <a:pt x="194" y="864"/>
                  </a:moveTo>
                  <a:lnTo>
                    <a:pt x="228" y="848"/>
                  </a:lnTo>
                  <a:lnTo>
                    <a:pt x="312" y="872"/>
                  </a:lnTo>
                  <a:lnTo>
                    <a:pt x="354" y="888"/>
                  </a:lnTo>
                  <a:lnTo>
                    <a:pt x="388" y="872"/>
                  </a:lnTo>
                  <a:lnTo>
                    <a:pt x="447" y="880"/>
                  </a:lnTo>
                  <a:lnTo>
                    <a:pt x="489" y="872"/>
                  </a:lnTo>
                  <a:lnTo>
                    <a:pt x="557" y="848"/>
                  </a:lnTo>
                  <a:lnTo>
                    <a:pt x="616" y="864"/>
                  </a:lnTo>
                  <a:lnTo>
                    <a:pt x="616" y="832"/>
                  </a:lnTo>
                  <a:lnTo>
                    <a:pt x="599" y="800"/>
                  </a:lnTo>
                  <a:lnTo>
                    <a:pt x="632" y="776"/>
                  </a:lnTo>
                  <a:lnTo>
                    <a:pt x="641" y="744"/>
                  </a:lnTo>
                  <a:lnTo>
                    <a:pt x="675" y="744"/>
                  </a:lnTo>
                  <a:lnTo>
                    <a:pt x="683" y="712"/>
                  </a:lnTo>
                  <a:lnTo>
                    <a:pt x="607" y="656"/>
                  </a:lnTo>
                  <a:lnTo>
                    <a:pt x="548" y="608"/>
                  </a:lnTo>
                  <a:lnTo>
                    <a:pt x="557" y="584"/>
                  </a:lnTo>
                  <a:lnTo>
                    <a:pt x="523" y="544"/>
                  </a:lnTo>
                  <a:lnTo>
                    <a:pt x="557" y="520"/>
                  </a:lnTo>
                  <a:lnTo>
                    <a:pt x="599" y="512"/>
                  </a:lnTo>
                  <a:lnTo>
                    <a:pt x="641" y="488"/>
                  </a:lnTo>
                  <a:lnTo>
                    <a:pt x="683" y="472"/>
                  </a:lnTo>
                  <a:lnTo>
                    <a:pt x="691" y="440"/>
                  </a:lnTo>
                  <a:lnTo>
                    <a:pt x="725" y="440"/>
                  </a:lnTo>
                  <a:lnTo>
                    <a:pt x="750" y="456"/>
                  </a:lnTo>
                  <a:lnTo>
                    <a:pt x="750" y="392"/>
                  </a:lnTo>
                  <a:lnTo>
                    <a:pt x="725" y="360"/>
                  </a:lnTo>
                  <a:lnTo>
                    <a:pt x="742" y="320"/>
                  </a:lnTo>
                  <a:lnTo>
                    <a:pt x="717" y="280"/>
                  </a:lnTo>
                  <a:lnTo>
                    <a:pt x="717" y="248"/>
                  </a:lnTo>
                  <a:lnTo>
                    <a:pt x="666" y="216"/>
                  </a:lnTo>
                  <a:lnTo>
                    <a:pt x="691" y="168"/>
                  </a:lnTo>
                  <a:lnTo>
                    <a:pt x="683" y="136"/>
                  </a:lnTo>
                  <a:lnTo>
                    <a:pt x="675" y="88"/>
                  </a:lnTo>
                  <a:lnTo>
                    <a:pt x="641" y="80"/>
                  </a:lnTo>
                  <a:lnTo>
                    <a:pt x="607" y="64"/>
                  </a:lnTo>
                  <a:lnTo>
                    <a:pt x="616" y="32"/>
                  </a:lnTo>
                  <a:lnTo>
                    <a:pt x="590" y="16"/>
                  </a:lnTo>
                  <a:lnTo>
                    <a:pt x="582" y="32"/>
                  </a:lnTo>
                  <a:lnTo>
                    <a:pt x="573" y="48"/>
                  </a:lnTo>
                  <a:lnTo>
                    <a:pt x="557" y="40"/>
                  </a:lnTo>
                  <a:lnTo>
                    <a:pt x="548" y="40"/>
                  </a:lnTo>
                  <a:lnTo>
                    <a:pt x="540" y="40"/>
                  </a:lnTo>
                  <a:lnTo>
                    <a:pt x="514" y="64"/>
                  </a:lnTo>
                  <a:lnTo>
                    <a:pt x="481" y="72"/>
                  </a:lnTo>
                  <a:lnTo>
                    <a:pt x="464" y="96"/>
                  </a:lnTo>
                  <a:lnTo>
                    <a:pt x="439" y="96"/>
                  </a:lnTo>
                  <a:lnTo>
                    <a:pt x="413" y="88"/>
                  </a:lnTo>
                  <a:lnTo>
                    <a:pt x="430" y="64"/>
                  </a:lnTo>
                  <a:lnTo>
                    <a:pt x="422" y="32"/>
                  </a:lnTo>
                  <a:lnTo>
                    <a:pt x="396" y="56"/>
                  </a:lnTo>
                  <a:lnTo>
                    <a:pt x="346" y="40"/>
                  </a:lnTo>
                  <a:lnTo>
                    <a:pt x="346" y="16"/>
                  </a:lnTo>
                  <a:lnTo>
                    <a:pt x="337" y="8"/>
                  </a:lnTo>
                  <a:lnTo>
                    <a:pt x="253" y="0"/>
                  </a:lnTo>
                  <a:lnTo>
                    <a:pt x="270" y="24"/>
                  </a:lnTo>
                  <a:lnTo>
                    <a:pt x="245" y="40"/>
                  </a:lnTo>
                  <a:lnTo>
                    <a:pt x="245" y="64"/>
                  </a:lnTo>
                  <a:lnTo>
                    <a:pt x="278" y="112"/>
                  </a:lnTo>
                  <a:lnTo>
                    <a:pt x="253" y="112"/>
                  </a:lnTo>
                  <a:lnTo>
                    <a:pt x="236" y="112"/>
                  </a:lnTo>
                  <a:lnTo>
                    <a:pt x="228" y="128"/>
                  </a:lnTo>
                  <a:lnTo>
                    <a:pt x="220" y="136"/>
                  </a:lnTo>
                  <a:lnTo>
                    <a:pt x="211" y="136"/>
                  </a:lnTo>
                  <a:lnTo>
                    <a:pt x="186" y="128"/>
                  </a:lnTo>
                  <a:lnTo>
                    <a:pt x="135" y="128"/>
                  </a:lnTo>
                  <a:lnTo>
                    <a:pt x="110" y="144"/>
                  </a:lnTo>
                  <a:lnTo>
                    <a:pt x="110" y="168"/>
                  </a:lnTo>
                  <a:lnTo>
                    <a:pt x="118" y="208"/>
                  </a:lnTo>
                  <a:lnTo>
                    <a:pt x="102" y="248"/>
                  </a:lnTo>
                  <a:lnTo>
                    <a:pt x="76" y="256"/>
                  </a:lnTo>
                  <a:lnTo>
                    <a:pt x="102" y="280"/>
                  </a:lnTo>
                  <a:lnTo>
                    <a:pt x="93" y="312"/>
                  </a:lnTo>
                  <a:lnTo>
                    <a:pt x="68" y="320"/>
                  </a:lnTo>
                  <a:lnTo>
                    <a:pt x="68" y="344"/>
                  </a:lnTo>
                  <a:lnTo>
                    <a:pt x="17" y="352"/>
                  </a:lnTo>
                  <a:lnTo>
                    <a:pt x="17" y="384"/>
                  </a:lnTo>
                  <a:lnTo>
                    <a:pt x="17" y="432"/>
                  </a:lnTo>
                  <a:lnTo>
                    <a:pt x="0" y="448"/>
                  </a:lnTo>
                  <a:lnTo>
                    <a:pt x="0" y="472"/>
                  </a:lnTo>
                  <a:lnTo>
                    <a:pt x="9" y="480"/>
                  </a:lnTo>
                  <a:lnTo>
                    <a:pt x="34" y="504"/>
                  </a:lnTo>
                  <a:lnTo>
                    <a:pt x="34" y="536"/>
                  </a:lnTo>
                  <a:lnTo>
                    <a:pt x="17" y="552"/>
                  </a:lnTo>
                  <a:lnTo>
                    <a:pt x="9" y="552"/>
                  </a:lnTo>
                  <a:lnTo>
                    <a:pt x="9" y="576"/>
                  </a:lnTo>
                  <a:lnTo>
                    <a:pt x="43" y="600"/>
                  </a:lnTo>
                  <a:lnTo>
                    <a:pt x="26" y="632"/>
                  </a:lnTo>
                  <a:lnTo>
                    <a:pt x="51" y="664"/>
                  </a:lnTo>
                  <a:lnTo>
                    <a:pt x="76" y="672"/>
                  </a:lnTo>
                  <a:lnTo>
                    <a:pt x="135" y="688"/>
                  </a:lnTo>
                  <a:lnTo>
                    <a:pt x="186" y="704"/>
                  </a:lnTo>
                  <a:lnTo>
                    <a:pt x="152" y="736"/>
                  </a:lnTo>
                  <a:lnTo>
                    <a:pt x="144" y="776"/>
                  </a:lnTo>
                  <a:lnTo>
                    <a:pt x="127" y="864"/>
                  </a:lnTo>
                  <a:lnTo>
                    <a:pt x="118" y="864"/>
                  </a:lnTo>
                  <a:lnTo>
                    <a:pt x="144" y="872"/>
                  </a:lnTo>
                  <a:lnTo>
                    <a:pt x="194" y="86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3" name="Freeform 42"/>
            <p:cNvSpPr>
              <a:spLocks/>
            </p:cNvSpPr>
            <p:nvPr/>
          </p:nvSpPr>
          <p:spPr bwMode="auto">
            <a:xfrm>
              <a:off x="5011238" y="4817765"/>
              <a:ext cx="590009" cy="315277"/>
            </a:xfrm>
            <a:custGeom>
              <a:avLst/>
              <a:gdLst>
                <a:gd name="T0" fmla="*/ 2147483647 w 421"/>
                <a:gd name="T1" fmla="*/ 2147483647 h 232"/>
                <a:gd name="T2" fmla="*/ 2147483647 w 421"/>
                <a:gd name="T3" fmla="*/ 2147483647 h 232"/>
                <a:gd name="T4" fmla="*/ 2147483647 w 421"/>
                <a:gd name="T5" fmla="*/ 2147483647 h 232"/>
                <a:gd name="T6" fmla="*/ 2147483647 w 421"/>
                <a:gd name="T7" fmla="*/ 2147483647 h 232"/>
                <a:gd name="T8" fmla="*/ 2147483647 w 421"/>
                <a:gd name="T9" fmla="*/ 2147483647 h 232"/>
                <a:gd name="T10" fmla="*/ 2147483647 w 421"/>
                <a:gd name="T11" fmla="*/ 0 h 232"/>
                <a:gd name="T12" fmla="*/ 2147483647 w 421"/>
                <a:gd name="T13" fmla="*/ 2147483647 h 232"/>
                <a:gd name="T14" fmla="*/ 2147483647 w 421"/>
                <a:gd name="T15" fmla="*/ 2147483647 h 232"/>
                <a:gd name="T16" fmla="*/ 2147483647 w 421"/>
                <a:gd name="T17" fmla="*/ 2147483647 h 232"/>
                <a:gd name="T18" fmla="*/ 2147483647 w 421"/>
                <a:gd name="T19" fmla="*/ 2147483647 h 232"/>
                <a:gd name="T20" fmla="*/ 2147483647 w 421"/>
                <a:gd name="T21" fmla="*/ 2147483647 h 232"/>
                <a:gd name="T22" fmla="*/ 2147483647 w 421"/>
                <a:gd name="T23" fmla="*/ 2147483647 h 232"/>
                <a:gd name="T24" fmla="*/ 2147483647 w 421"/>
                <a:gd name="T25" fmla="*/ 2147483647 h 232"/>
                <a:gd name="T26" fmla="*/ 2147483647 w 421"/>
                <a:gd name="T27" fmla="*/ 2147483647 h 232"/>
                <a:gd name="T28" fmla="*/ 2147483647 w 421"/>
                <a:gd name="T29" fmla="*/ 2147483647 h 232"/>
                <a:gd name="T30" fmla="*/ 0 w 421"/>
                <a:gd name="T31" fmla="*/ 2147483647 h 232"/>
                <a:gd name="T32" fmla="*/ 2147483647 w 421"/>
                <a:gd name="T33" fmla="*/ 2147483647 h 232"/>
                <a:gd name="T34" fmla="*/ 2147483647 w 421"/>
                <a:gd name="T35" fmla="*/ 2147483647 h 232"/>
                <a:gd name="T36" fmla="*/ 2147483647 w 421"/>
                <a:gd name="T37" fmla="*/ 2147483647 h 232"/>
                <a:gd name="T38" fmla="*/ 2147483647 w 421"/>
                <a:gd name="T39" fmla="*/ 2147483647 h 232"/>
                <a:gd name="T40" fmla="*/ 2147483647 w 421"/>
                <a:gd name="T41" fmla="*/ 2147483647 h 232"/>
                <a:gd name="T42" fmla="*/ 2147483647 w 421"/>
                <a:gd name="T43" fmla="*/ 2147483647 h 232"/>
                <a:gd name="T44" fmla="*/ 2147483647 w 421"/>
                <a:gd name="T45" fmla="*/ 2147483647 h 232"/>
                <a:gd name="T46" fmla="*/ 2147483647 w 421"/>
                <a:gd name="T47" fmla="*/ 2147483647 h 232"/>
                <a:gd name="T48" fmla="*/ 2147483647 w 421"/>
                <a:gd name="T49" fmla="*/ 2147483647 h 232"/>
                <a:gd name="T50" fmla="*/ 2147483647 w 421"/>
                <a:gd name="T51" fmla="*/ 2147483647 h 232"/>
                <a:gd name="T52" fmla="*/ 2147483647 w 421"/>
                <a:gd name="T53" fmla="*/ 2147483647 h 232"/>
                <a:gd name="T54" fmla="*/ 2147483647 w 421"/>
                <a:gd name="T55" fmla="*/ 2147483647 h 232"/>
                <a:gd name="T56" fmla="*/ 2147483647 w 421"/>
                <a:gd name="T57" fmla="*/ 2147483647 h 232"/>
                <a:gd name="T58" fmla="*/ 2147483647 w 421"/>
                <a:gd name="T59" fmla="*/ 2147483647 h 23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21"/>
                <a:gd name="T91" fmla="*/ 0 h 232"/>
                <a:gd name="T92" fmla="*/ 421 w 421"/>
                <a:gd name="T93" fmla="*/ 232 h 23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21" h="232">
                  <a:moveTo>
                    <a:pt x="371" y="104"/>
                  </a:moveTo>
                  <a:lnTo>
                    <a:pt x="354" y="88"/>
                  </a:lnTo>
                  <a:lnTo>
                    <a:pt x="329" y="72"/>
                  </a:lnTo>
                  <a:lnTo>
                    <a:pt x="337" y="32"/>
                  </a:lnTo>
                  <a:lnTo>
                    <a:pt x="337" y="24"/>
                  </a:lnTo>
                  <a:lnTo>
                    <a:pt x="253" y="0"/>
                  </a:lnTo>
                  <a:lnTo>
                    <a:pt x="219" y="16"/>
                  </a:lnTo>
                  <a:lnTo>
                    <a:pt x="169" y="24"/>
                  </a:lnTo>
                  <a:lnTo>
                    <a:pt x="143" y="16"/>
                  </a:lnTo>
                  <a:lnTo>
                    <a:pt x="118" y="32"/>
                  </a:lnTo>
                  <a:lnTo>
                    <a:pt x="84" y="40"/>
                  </a:lnTo>
                  <a:lnTo>
                    <a:pt x="76" y="72"/>
                  </a:lnTo>
                  <a:lnTo>
                    <a:pt x="51" y="88"/>
                  </a:lnTo>
                  <a:lnTo>
                    <a:pt x="42" y="112"/>
                  </a:lnTo>
                  <a:lnTo>
                    <a:pt x="9" y="152"/>
                  </a:lnTo>
                  <a:lnTo>
                    <a:pt x="0" y="184"/>
                  </a:lnTo>
                  <a:lnTo>
                    <a:pt x="34" y="168"/>
                  </a:lnTo>
                  <a:lnTo>
                    <a:pt x="76" y="184"/>
                  </a:lnTo>
                  <a:lnTo>
                    <a:pt x="84" y="200"/>
                  </a:lnTo>
                  <a:lnTo>
                    <a:pt x="101" y="224"/>
                  </a:lnTo>
                  <a:lnTo>
                    <a:pt x="177" y="216"/>
                  </a:lnTo>
                  <a:lnTo>
                    <a:pt x="219" y="152"/>
                  </a:lnTo>
                  <a:lnTo>
                    <a:pt x="287" y="232"/>
                  </a:lnTo>
                  <a:lnTo>
                    <a:pt x="312" y="152"/>
                  </a:lnTo>
                  <a:lnTo>
                    <a:pt x="354" y="160"/>
                  </a:lnTo>
                  <a:lnTo>
                    <a:pt x="379" y="144"/>
                  </a:lnTo>
                  <a:lnTo>
                    <a:pt x="413" y="144"/>
                  </a:lnTo>
                  <a:lnTo>
                    <a:pt x="421" y="136"/>
                  </a:lnTo>
                  <a:lnTo>
                    <a:pt x="413" y="96"/>
                  </a:lnTo>
                  <a:lnTo>
                    <a:pt x="371" y="10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4" name="Freeform 43"/>
            <p:cNvSpPr>
              <a:spLocks/>
            </p:cNvSpPr>
            <p:nvPr/>
          </p:nvSpPr>
          <p:spPr bwMode="auto">
            <a:xfrm>
              <a:off x="5472586" y="4588815"/>
              <a:ext cx="952100" cy="424121"/>
            </a:xfrm>
            <a:custGeom>
              <a:avLst/>
              <a:gdLst>
                <a:gd name="T0" fmla="*/ 2147483647 w 682"/>
                <a:gd name="T1" fmla="*/ 2147483647 h 312"/>
                <a:gd name="T2" fmla="*/ 2147483647 w 682"/>
                <a:gd name="T3" fmla="*/ 2147483647 h 312"/>
                <a:gd name="T4" fmla="*/ 2147483647 w 682"/>
                <a:gd name="T5" fmla="*/ 2147483647 h 312"/>
                <a:gd name="T6" fmla="*/ 2147483647 w 682"/>
                <a:gd name="T7" fmla="*/ 2147483647 h 312"/>
                <a:gd name="T8" fmla="*/ 2147483647 w 682"/>
                <a:gd name="T9" fmla="*/ 2147483647 h 312"/>
                <a:gd name="T10" fmla="*/ 2147483647 w 682"/>
                <a:gd name="T11" fmla="*/ 2147483647 h 312"/>
                <a:gd name="T12" fmla="*/ 2147483647 w 682"/>
                <a:gd name="T13" fmla="*/ 2147483647 h 312"/>
                <a:gd name="T14" fmla="*/ 2147483647 w 682"/>
                <a:gd name="T15" fmla="*/ 2147483647 h 312"/>
                <a:gd name="T16" fmla="*/ 2147483647 w 682"/>
                <a:gd name="T17" fmla="*/ 2147483647 h 312"/>
                <a:gd name="T18" fmla="*/ 2147483647 w 682"/>
                <a:gd name="T19" fmla="*/ 2147483647 h 312"/>
                <a:gd name="T20" fmla="*/ 2147483647 w 682"/>
                <a:gd name="T21" fmla="*/ 2147483647 h 312"/>
                <a:gd name="T22" fmla="*/ 2147483647 w 682"/>
                <a:gd name="T23" fmla="*/ 2147483647 h 312"/>
                <a:gd name="T24" fmla="*/ 2147483647 w 682"/>
                <a:gd name="T25" fmla="*/ 2147483647 h 312"/>
                <a:gd name="T26" fmla="*/ 2147483647 w 682"/>
                <a:gd name="T27" fmla="*/ 0 h 312"/>
                <a:gd name="T28" fmla="*/ 2147483647 w 682"/>
                <a:gd name="T29" fmla="*/ 2147483647 h 312"/>
                <a:gd name="T30" fmla="*/ 2147483647 w 682"/>
                <a:gd name="T31" fmla="*/ 2147483647 h 312"/>
                <a:gd name="T32" fmla="*/ 2147483647 w 682"/>
                <a:gd name="T33" fmla="*/ 2147483647 h 312"/>
                <a:gd name="T34" fmla="*/ 2147483647 w 682"/>
                <a:gd name="T35" fmla="*/ 2147483647 h 312"/>
                <a:gd name="T36" fmla="*/ 2147483647 w 682"/>
                <a:gd name="T37" fmla="*/ 2147483647 h 312"/>
                <a:gd name="T38" fmla="*/ 2147483647 w 682"/>
                <a:gd name="T39" fmla="*/ 2147483647 h 312"/>
                <a:gd name="T40" fmla="*/ 2147483647 w 682"/>
                <a:gd name="T41" fmla="*/ 2147483647 h 312"/>
                <a:gd name="T42" fmla="*/ 2147483647 w 682"/>
                <a:gd name="T43" fmla="*/ 2147483647 h 312"/>
                <a:gd name="T44" fmla="*/ 2147483647 w 682"/>
                <a:gd name="T45" fmla="*/ 2147483647 h 312"/>
                <a:gd name="T46" fmla="*/ 2147483647 w 682"/>
                <a:gd name="T47" fmla="*/ 2147483647 h 312"/>
                <a:gd name="T48" fmla="*/ 2147483647 w 682"/>
                <a:gd name="T49" fmla="*/ 2147483647 h 312"/>
                <a:gd name="T50" fmla="*/ 2147483647 w 682"/>
                <a:gd name="T51" fmla="*/ 2147483647 h 312"/>
                <a:gd name="T52" fmla="*/ 2147483647 w 682"/>
                <a:gd name="T53" fmla="*/ 2147483647 h 312"/>
                <a:gd name="T54" fmla="*/ 2147483647 w 682"/>
                <a:gd name="T55" fmla="*/ 2147483647 h 312"/>
                <a:gd name="T56" fmla="*/ 2147483647 w 682"/>
                <a:gd name="T57" fmla="*/ 2147483647 h 312"/>
                <a:gd name="T58" fmla="*/ 0 w 682"/>
                <a:gd name="T59" fmla="*/ 2147483647 h 312"/>
                <a:gd name="T60" fmla="*/ 2147483647 w 682"/>
                <a:gd name="T61" fmla="*/ 2147483647 h 312"/>
                <a:gd name="T62" fmla="*/ 2147483647 w 682"/>
                <a:gd name="T63" fmla="*/ 2147483647 h 312"/>
                <a:gd name="T64" fmla="*/ 2147483647 w 682"/>
                <a:gd name="T65" fmla="*/ 2147483647 h 312"/>
                <a:gd name="T66" fmla="*/ 2147483647 w 682"/>
                <a:gd name="T67" fmla="*/ 2147483647 h 312"/>
                <a:gd name="T68" fmla="*/ 2147483647 w 682"/>
                <a:gd name="T69" fmla="*/ 2147483647 h 312"/>
                <a:gd name="T70" fmla="*/ 2147483647 w 682"/>
                <a:gd name="T71" fmla="*/ 2147483647 h 312"/>
                <a:gd name="T72" fmla="*/ 2147483647 w 682"/>
                <a:gd name="T73" fmla="*/ 2147483647 h 312"/>
                <a:gd name="T74" fmla="*/ 2147483647 w 682"/>
                <a:gd name="T75" fmla="*/ 2147483647 h 312"/>
                <a:gd name="T76" fmla="*/ 2147483647 w 682"/>
                <a:gd name="T77" fmla="*/ 2147483647 h 312"/>
                <a:gd name="T78" fmla="*/ 2147483647 w 682"/>
                <a:gd name="T79" fmla="*/ 2147483647 h 312"/>
                <a:gd name="T80" fmla="*/ 2147483647 w 682"/>
                <a:gd name="T81" fmla="*/ 2147483647 h 312"/>
                <a:gd name="T82" fmla="*/ 2147483647 w 682"/>
                <a:gd name="T83" fmla="*/ 2147483647 h 312"/>
                <a:gd name="T84" fmla="*/ 2147483647 w 682"/>
                <a:gd name="T85" fmla="*/ 2147483647 h 3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82"/>
                <a:gd name="T130" fmla="*/ 0 h 312"/>
                <a:gd name="T131" fmla="*/ 682 w 682"/>
                <a:gd name="T132" fmla="*/ 312 h 31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82" h="312">
                  <a:moveTo>
                    <a:pt x="472" y="304"/>
                  </a:moveTo>
                  <a:lnTo>
                    <a:pt x="505" y="280"/>
                  </a:lnTo>
                  <a:lnTo>
                    <a:pt x="556" y="280"/>
                  </a:lnTo>
                  <a:lnTo>
                    <a:pt x="598" y="272"/>
                  </a:lnTo>
                  <a:lnTo>
                    <a:pt x="598" y="248"/>
                  </a:lnTo>
                  <a:lnTo>
                    <a:pt x="623" y="224"/>
                  </a:lnTo>
                  <a:lnTo>
                    <a:pt x="632" y="184"/>
                  </a:lnTo>
                  <a:lnTo>
                    <a:pt x="632" y="144"/>
                  </a:lnTo>
                  <a:lnTo>
                    <a:pt x="674" y="128"/>
                  </a:lnTo>
                  <a:lnTo>
                    <a:pt x="682" y="96"/>
                  </a:lnTo>
                  <a:lnTo>
                    <a:pt x="649" y="72"/>
                  </a:lnTo>
                  <a:lnTo>
                    <a:pt x="649" y="24"/>
                  </a:lnTo>
                  <a:lnTo>
                    <a:pt x="564" y="24"/>
                  </a:lnTo>
                  <a:lnTo>
                    <a:pt x="488" y="0"/>
                  </a:lnTo>
                  <a:lnTo>
                    <a:pt x="463" y="48"/>
                  </a:lnTo>
                  <a:lnTo>
                    <a:pt x="413" y="64"/>
                  </a:lnTo>
                  <a:lnTo>
                    <a:pt x="371" y="40"/>
                  </a:lnTo>
                  <a:lnTo>
                    <a:pt x="371" y="64"/>
                  </a:lnTo>
                  <a:lnTo>
                    <a:pt x="337" y="64"/>
                  </a:lnTo>
                  <a:lnTo>
                    <a:pt x="328" y="96"/>
                  </a:lnTo>
                  <a:lnTo>
                    <a:pt x="295" y="120"/>
                  </a:lnTo>
                  <a:lnTo>
                    <a:pt x="312" y="152"/>
                  </a:lnTo>
                  <a:lnTo>
                    <a:pt x="312" y="184"/>
                  </a:lnTo>
                  <a:lnTo>
                    <a:pt x="253" y="168"/>
                  </a:lnTo>
                  <a:lnTo>
                    <a:pt x="185" y="192"/>
                  </a:lnTo>
                  <a:lnTo>
                    <a:pt x="143" y="200"/>
                  </a:lnTo>
                  <a:lnTo>
                    <a:pt x="84" y="192"/>
                  </a:lnTo>
                  <a:lnTo>
                    <a:pt x="50" y="208"/>
                  </a:lnTo>
                  <a:lnTo>
                    <a:pt x="8" y="200"/>
                  </a:lnTo>
                  <a:lnTo>
                    <a:pt x="0" y="240"/>
                  </a:lnTo>
                  <a:lnTo>
                    <a:pt x="25" y="256"/>
                  </a:lnTo>
                  <a:lnTo>
                    <a:pt x="42" y="272"/>
                  </a:lnTo>
                  <a:lnTo>
                    <a:pt x="84" y="264"/>
                  </a:lnTo>
                  <a:lnTo>
                    <a:pt x="92" y="304"/>
                  </a:lnTo>
                  <a:lnTo>
                    <a:pt x="101" y="280"/>
                  </a:lnTo>
                  <a:lnTo>
                    <a:pt x="135" y="288"/>
                  </a:lnTo>
                  <a:lnTo>
                    <a:pt x="168" y="256"/>
                  </a:lnTo>
                  <a:lnTo>
                    <a:pt x="244" y="248"/>
                  </a:lnTo>
                  <a:lnTo>
                    <a:pt x="261" y="272"/>
                  </a:lnTo>
                  <a:lnTo>
                    <a:pt x="379" y="304"/>
                  </a:lnTo>
                  <a:lnTo>
                    <a:pt x="379" y="312"/>
                  </a:lnTo>
                  <a:lnTo>
                    <a:pt x="413" y="304"/>
                  </a:lnTo>
                  <a:lnTo>
                    <a:pt x="472" y="30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5" name="CH"/>
            <p:cNvSpPr>
              <a:spLocks/>
            </p:cNvSpPr>
            <p:nvPr/>
          </p:nvSpPr>
          <p:spPr bwMode="auto">
            <a:xfrm>
              <a:off x="5011238" y="4817765"/>
              <a:ext cx="590009" cy="315277"/>
            </a:xfrm>
            <a:custGeom>
              <a:avLst/>
              <a:gdLst>
                <a:gd name="T0" fmla="*/ 2147483647 w 421"/>
                <a:gd name="T1" fmla="*/ 2147483647 h 232"/>
                <a:gd name="T2" fmla="*/ 2147483647 w 421"/>
                <a:gd name="T3" fmla="*/ 2147483647 h 232"/>
                <a:gd name="T4" fmla="*/ 2147483647 w 421"/>
                <a:gd name="T5" fmla="*/ 2147483647 h 232"/>
                <a:gd name="T6" fmla="*/ 2147483647 w 421"/>
                <a:gd name="T7" fmla="*/ 2147483647 h 232"/>
                <a:gd name="T8" fmla="*/ 2147483647 w 421"/>
                <a:gd name="T9" fmla="*/ 2147483647 h 232"/>
                <a:gd name="T10" fmla="*/ 2147483647 w 421"/>
                <a:gd name="T11" fmla="*/ 0 h 232"/>
                <a:gd name="T12" fmla="*/ 2147483647 w 421"/>
                <a:gd name="T13" fmla="*/ 2147483647 h 232"/>
                <a:gd name="T14" fmla="*/ 2147483647 w 421"/>
                <a:gd name="T15" fmla="*/ 2147483647 h 232"/>
                <a:gd name="T16" fmla="*/ 2147483647 w 421"/>
                <a:gd name="T17" fmla="*/ 2147483647 h 232"/>
                <a:gd name="T18" fmla="*/ 2147483647 w 421"/>
                <a:gd name="T19" fmla="*/ 2147483647 h 232"/>
                <a:gd name="T20" fmla="*/ 2147483647 w 421"/>
                <a:gd name="T21" fmla="*/ 2147483647 h 232"/>
                <a:gd name="T22" fmla="*/ 2147483647 w 421"/>
                <a:gd name="T23" fmla="*/ 2147483647 h 232"/>
                <a:gd name="T24" fmla="*/ 2147483647 w 421"/>
                <a:gd name="T25" fmla="*/ 2147483647 h 232"/>
                <a:gd name="T26" fmla="*/ 2147483647 w 421"/>
                <a:gd name="T27" fmla="*/ 2147483647 h 232"/>
                <a:gd name="T28" fmla="*/ 2147483647 w 421"/>
                <a:gd name="T29" fmla="*/ 2147483647 h 232"/>
                <a:gd name="T30" fmla="*/ 0 w 421"/>
                <a:gd name="T31" fmla="*/ 2147483647 h 232"/>
                <a:gd name="T32" fmla="*/ 2147483647 w 421"/>
                <a:gd name="T33" fmla="*/ 2147483647 h 232"/>
                <a:gd name="T34" fmla="*/ 2147483647 w 421"/>
                <a:gd name="T35" fmla="*/ 2147483647 h 232"/>
                <a:gd name="T36" fmla="*/ 2147483647 w 421"/>
                <a:gd name="T37" fmla="*/ 2147483647 h 232"/>
                <a:gd name="T38" fmla="*/ 2147483647 w 421"/>
                <a:gd name="T39" fmla="*/ 2147483647 h 232"/>
                <a:gd name="T40" fmla="*/ 2147483647 w 421"/>
                <a:gd name="T41" fmla="*/ 2147483647 h 232"/>
                <a:gd name="T42" fmla="*/ 2147483647 w 421"/>
                <a:gd name="T43" fmla="*/ 2147483647 h 232"/>
                <a:gd name="T44" fmla="*/ 2147483647 w 421"/>
                <a:gd name="T45" fmla="*/ 2147483647 h 232"/>
                <a:gd name="T46" fmla="*/ 2147483647 w 421"/>
                <a:gd name="T47" fmla="*/ 2147483647 h 232"/>
                <a:gd name="T48" fmla="*/ 2147483647 w 421"/>
                <a:gd name="T49" fmla="*/ 2147483647 h 232"/>
                <a:gd name="T50" fmla="*/ 2147483647 w 421"/>
                <a:gd name="T51" fmla="*/ 2147483647 h 232"/>
                <a:gd name="T52" fmla="*/ 2147483647 w 421"/>
                <a:gd name="T53" fmla="*/ 2147483647 h 232"/>
                <a:gd name="T54" fmla="*/ 2147483647 w 421"/>
                <a:gd name="T55" fmla="*/ 2147483647 h 232"/>
                <a:gd name="T56" fmla="*/ 2147483647 w 421"/>
                <a:gd name="T57" fmla="*/ 2147483647 h 232"/>
                <a:gd name="T58" fmla="*/ 2147483647 w 421"/>
                <a:gd name="T59" fmla="*/ 2147483647 h 23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21"/>
                <a:gd name="T91" fmla="*/ 0 h 232"/>
                <a:gd name="T92" fmla="*/ 421 w 421"/>
                <a:gd name="T93" fmla="*/ 232 h 23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21" h="232">
                  <a:moveTo>
                    <a:pt x="371" y="104"/>
                  </a:moveTo>
                  <a:lnTo>
                    <a:pt x="354" y="88"/>
                  </a:lnTo>
                  <a:lnTo>
                    <a:pt x="329" y="72"/>
                  </a:lnTo>
                  <a:lnTo>
                    <a:pt x="337" y="32"/>
                  </a:lnTo>
                  <a:lnTo>
                    <a:pt x="337" y="24"/>
                  </a:lnTo>
                  <a:lnTo>
                    <a:pt x="253" y="0"/>
                  </a:lnTo>
                  <a:lnTo>
                    <a:pt x="219" y="16"/>
                  </a:lnTo>
                  <a:lnTo>
                    <a:pt x="169" y="24"/>
                  </a:lnTo>
                  <a:lnTo>
                    <a:pt x="143" y="16"/>
                  </a:lnTo>
                  <a:lnTo>
                    <a:pt x="118" y="32"/>
                  </a:lnTo>
                  <a:lnTo>
                    <a:pt x="84" y="40"/>
                  </a:lnTo>
                  <a:lnTo>
                    <a:pt x="76" y="72"/>
                  </a:lnTo>
                  <a:lnTo>
                    <a:pt x="51" y="88"/>
                  </a:lnTo>
                  <a:lnTo>
                    <a:pt x="42" y="112"/>
                  </a:lnTo>
                  <a:lnTo>
                    <a:pt x="9" y="152"/>
                  </a:lnTo>
                  <a:lnTo>
                    <a:pt x="0" y="184"/>
                  </a:lnTo>
                  <a:lnTo>
                    <a:pt x="34" y="168"/>
                  </a:lnTo>
                  <a:lnTo>
                    <a:pt x="76" y="184"/>
                  </a:lnTo>
                  <a:lnTo>
                    <a:pt x="84" y="200"/>
                  </a:lnTo>
                  <a:lnTo>
                    <a:pt x="101" y="224"/>
                  </a:lnTo>
                  <a:lnTo>
                    <a:pt x="177" y="216"/>
                  </a:lnTo>
                  <a:lnTo>
                    <a:pt x="219" y="152"/>
                  </a:lnTo>
                  <a:lnTo>
                    <a:pt x="287" y="232"/>
                  </a:lnTo>
                  <a:lnTo>
                    <a:pt x="312" y="152"/>
                  </a:lnTo>
                  <a:lnTo>
                    <a:pt x="354" y="160"/>
                  </a:lnTo>
                  <a:lnTo>
                    <a:pt x="379" y="144"/>
                  </a:lnTo>
                  <a:lnTo>
                    <a:pt x="413" y="144"/>
                  </a:lnTo>
                  <a:lnTo>
                    <a:pt x="421" y="136"/>
                  </a:lnTo>
                  <a:lnTo>
                    <a:pt x="413" y="96"/>
                  </a:lnTo>
                  <a:lnTo>
                    <a:pt x="371" y="104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6" name="AT"/>
            <p:cNvSpPr>
              <a:spLocks/>
            </p:cNvSpPr>
            <p:nvPr/>
          </p:nvSpPr>
          <p:spPr bwMode="auto">
            <a:xfrm>
              <a:off x="5472586" y="4588815"/>
              <a:ext cx="952100" cy="424121"/>
            </a:xfrm>
            <a:custGeom>
              <a:avLst/>
              <a:gdLst>
                <a:gd name="T0" fmla="*/ 2147483647 w 682"/>
                <a:gd name="T1" fmla="*/ 2147483647 h 312"/>
                <a:gd name="T2" fmla="*/ 2147483647 w 682"/>
                <a:gd name="T3" fmla="*/ 2147483647 h 312"/>
                <a:gd name="T4" fmla="*/ 2147483647 w 682"/>
                <a:gd name="T5" fmla="*/ 2147483647 h 312"/>
                <a:gd name="T6" fmla="*/ 2147483647 w 682"/>
                <a:gd name="T7" fmla="*/ 2147483647 h 312"/>
                <a:gd name="T8" fmla="*/ 2147483647 w 682"/>
                <a:gd name="T9" fmla="*/ 2147483647 h 312"/>
                <a:gd name="T10" fmla="*/ 2147483647 w 682"/>
                <a:gd name="T11" fmla="*/ 2147483647 h 312"/>
                <a:gd name="T12" fmla="*/ 2147483647 w 682"/>
                <a:gd name="T13" fmla="*/ 2147483647 h 312"/>
                <a:gd name="T14" fmla="*/ 2147483647 w 682"/>
                <a:gd name="T15" fmla="*/ 2147483647 h 312"/>
                <a:gd name="T16" fmla="*/ 2147483647 w 682"/>
                <a:gd name="T17" fmla="*/ 2147483647 h 312"/>
                <a:gd name="T18" fmla="*/ 2147483647 w 682"/>
                <a:gd name="T19" fmla="*/ 2147483647 h 312"/>
                <a:gd name="T20" fmla="*/ 2147483647 w 682"/>
                <a:gd name="T21" fmla="*/ 2147483647 h 312"/>
                <a:gd name="T22" fmla="*/ 2147483647 w 682"/>
                <a:gd name="T23" fmla="*/ 2147483647 h 312"/>
                <a:gd name="T24" fmla="*/ 2147483647 w 682"/>
                <a:gd name="T25" fmla="*/ 2147483647 h 312"/>
                <a:gd name="T26" fmla="*/ 2147483647 w 682"/>
                <a:gd name="T27" fmla="*/ 0 h 312"/>
                <a:gd name="T28" fmla="*/ 2147483647 w 682"/>
                <a:gd name="T29" fmla="*/ 2147483647 h 312"/>
                <a:gd name="T30" fmla="*/ 2147483647 w 682"/>
                <a:gd name="T31" fmla="*/ 2147483647 h 312"/>
                <a:gd name="T32" fmla="*/ 2147483647 w 682"/>
                <a:gd name="T33" fmla="*/ 2147483647 h 312"/>
                <a:gd name="T34" fmla="*/ 2147483647 w 682"/>
                <a:gd name="T35" fmla="*/ 2147483647 h 312"/>
                <a:gd name="T36" fmla="*/ 2147483647 w 682"/>
                <a:gd name="T37" fmla="*/ 2147483647 h 312"/>
                <a:gd name="T38" fmla="*/ 2147483647 w 682"/>
                <a:gd name="T39" fmla="*/ 2147483647 h 312"/>
                <a:gd name="T40" fmla="*/ 2147483647 w 682"/>
                <a:gd name="T41" fmla="*/ 2147483647 h 312"/>
                <a:gd name="T42" fmla="*/ 2147483647 w 682"/>
                <a:gd name="T43" fmla="*/ 2147483647 h 312"/>
                <a:gd name="T44" fmla="*/ 2147483647 w 682"/>
                <a:gd name="T45" fmla="*/ 2147483647 h 312"/>
                <a:gd name="T46" fmla="*/ 2147483647 w 682"/>
                <a:gd name="T47" fmla="*/ 2147483647 h 312"/>
                <a:gd name="T48" fmla="*/ 2147483647 w 682"/>
                <a:gd name="T49" fmla="*/ 2147483647 h 312"/>
                <a:gd name="T50" fmla="*/ 2147483647 w 682"/>
                <a:gd name="T51" fmla="*/ 2147483647 h 312"/>
                <a:gd name="T52" fmla="*/ 2147483647 w 682"/>
                <a:gd name="T53" fmla="*/ 2147483647 h 312"/>
                <a:gd name="T54" fmla="*/ 2147483647 w 682"/>
                <a:gd name="T55" fmla="*/ 2147483647 h 312"/>
                <a:gd name="T56" fmla="*/ 2147483647 w 682"/>
                <a:gd name="T57" fmla="*/ 2147483647 h 312"/>
                <a:gd name="T58" fmla="*/ 0 w 682"/>
                <a:gd name="T59" fmla="*/ 2147483647 h 312"/>
                <a:gd name="T60" fmla="*/ 2147483647 w 682"/>
                <a:gd name="T61" fmla="*/ 2147483647 h 312"/>
                <a:gd name="T62" fmla="*/ 2147483647 w 682"/>
                <a:gd name="T63" fmla="*/ 2147483647 h 312"/>
                <a:gd name="T64" fmla="*/ 2147483647 w 682"/>
                <a:gd name="T65" fmla="*/ 2147483647 h 312"/>
                <a:gd name="T66" fmla="*/ 2147483647 w 682"/>
                <a:gd name="T67" fmla="*/ 2147483647 h 312"/>
                <a:gd name="T68" fmla="*/ 2147483647 w 682"/>
                <a:gd name="T69" fmla="*/ 2147483647 h 312"/>
                <a:gd name="T70" fmla="*/ 2147483647 w 682"/>
                <a:gd name="T71" fmla="*/ 2147483647 h 312"/>
                <a:gd name="T72" fmla="*/ 2147483647 w 682"/>
                <a:gd name="T73" fmla="*/ 2147483647 h 312"/>
                <a:gd name="T74" fmla="*/ 2147483647 w 682"/>
                <a:gd name="T75" fmla="*/ 2147483647 h 312"/>
                <a:gd name="T76" fmla="*/ 2147483647 w 682"/>
                <a:gd name="T77" fmla="*/ 2147483647 h 312"/>
                <a:gd name="T78" fmla="*/ 2147483647 w 682"/>
                <a:gd name="T79" fmla="*/ 2147483647 h 312"/>
                <a:gd name="T80" fmla="*/ 2147483647 w 682"/>
                <a:gd name="T81" fmla="*/ 2147483647 h 312"/>
                <a:gd name="T82" fmla="*/ 2147483647 w 682"/>
                <a:gd name="T83" fmla="*/ 2147483647 h 312"/>
                <a:gd name="T84" fmla="*/ 2147483647 w 682"/>
                <a:gd name="T85" fmla="*/ 2147483647 h 31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82"/>
                <a:gd name="T130" fmla="*/ 0 h 312"/>
                <a:gd name="T131" fmla="*/ 682 w 682"/>
                <a:gd name="T132" fmla="*/ 312 h 31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82" h="312">
                  <a:moveTo>
                    <a:pt x="472" y="304"/>
                  </a:moveTo>
                  <a:lnTo>
                    <a:pt x="505" y="280"/>
                  </a:lnTo>
                  <a:lnTo>
                    <a:pt x="556" y="280"/>
                  </a:lnTo>
                  <a:lnTo>
                    <a:pt x="598" y="272"/>
                  </a:lnTo>
                  <a:lnTo>
                    <a:pt x="598" y="248"/>
                  </a:lnTo>
                  <a:lnTo>
                    <a:pt x="623" y="224"/>
                  </a:lnTo>
                  <a:lnTo>
                    <a:pt x="632" y="184"/>
                  </a:lnTo>
                  <a:lnTo>
                    <a:pt x="632" y="144"/>
                  </a:lnTo>
                  <a:lnTo>
                    <a:pt x="674" y="128"/>
                  </a:lnTo>
                  <a:lnTo>
                    <a:pt x="682" y="96"/>
                  </a:lnTo>
                  <a:lnTo>
                    <a:pt x="649" y="72"/>
                  </a:lnTo>
                  <a:lnTo>
                    <a:pt x="649" y="24"/>
                  </a:lnTo>
                  <a:lnTo>
                    <a:pt x="564" y="24"/>
                  </a:lnTo>
                  <a:lnTo>
                    <a:pt x="488" y="0"/>
                  </a:lnTo>
                  <a:lnTo>
                    <a:pt x="463" y="48"/>
                  </a:lnTo>
                  <a:lnTo>
                    <a:pt x="413" y="64"/>
                  </a:lnTo>
                  <a:lnTo>
                    <a:pt x="371" y="40"/>
                  </a:lnTo>
                  <a:lnTo>
                    <a:pt x="371" y="64"/>
                  </a:lnTo>
                  <a:lnTo>
                    <a:pt x="337" y="64"/>
                  </a:lnTo>
                  <a:lnTo>
                    <a:pt x="328" y="96"/>
                  </a:lnTo>
                  <a:lnTo>
                    <a:pt x="295" y="120"/>
                  </a:lnTo>
                  <a:lnTo>
                    <a:pt x="312" y="152"/>
                  </a:lnTo>
                  <a:lnTo>
                    <a:pt x="312" y="184"/>
                  </a:lnTo>
                  <a:lnTo>
                    <a:pt x="253" y="168"/>
                  </a:lnTo>
                  <a:lnTo>
                    <a:pt x="185" y="192"/>
                  </a:lnTo>
                  <a:lnTo>
                    <a:pt x="143" y="200"/>
                  </a:lnTo>
                  <a:lnTo>
                    <a:pt x="84" y="192"/>
                  </a:lnTo>
                  <a:lnTo>
                    <a:pt x="50" y="208"/>
                  </a:lnTo>
                  <a:lnTo>
                    <a:pt x="8" y="200"/>
                  </a:lnTo>
                  <a:lnTo>
                    <a:pt x="0" y="240"/>
                  </a:lnTo>
                  <a:lnTo>
                    <a:pt x="25" y="256"/>
                  </a:lnTo>
                  <a:lnTo>
                    <a:pt x="42" y="272"/>
                  </a:lnTo>
                  <a:lnTo>
                    <a:pt x="84" y="264"/>
                  </a:lnTo>
                  <a:lnTo>
                    <a:pt x="92" y="304"/>
                  </a:lnTo>
                  <a:lnTo>
                    <a:pt x="101" y="280"/>
                  </a:lnTo>
                  <a:lnTo>
                    <a:pt x="135" y="288"/>
                  </a:lnTo>
                  <a:lnTo>
                    <a:pt x="168" y="256"/>
                  </a:lnTo>
                  <a:lnTo>
                    <a:pt x="244" y="248"/>
                  </a:lnTo>
                  <a:lnTo>
                    <a:pt x="261" y="272"/>
                  </a:lnTo>
                  <a:lnTo>
                    <a:pt x="379" y="304"/>
                  </a:lnTo>
                  <a:lnTo>
                    <a:pt x="379" y="312"/>
                  </a:lnTo>
                  <a:lnTo>
                    <a:pt x="413" y="304"/>
                  </a:lnTo>
                  <a:lnTo>
                    <a:pt x="472" y="304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57" name="CZ"/>
            <p:cNvSpPr>
              <a:spLocks/>
            </p:cNvSpPr>
            <p:nvPr/>
          </p:nvSpPr>
          <p:spPr bwMode="auto">
            <a:xfrm>
              <a:off x="5777699" y="4247265"/>
              <a:ext cx="810571" cy="427874"/>
            </a:xfrm>
            <a:custGeom>
              <a:avLst/>
              <a:gdLst>
                <a:gd name="T0" fmla="*/ 2147483647 w 581"/>
                <a:gd name="T1" fmla="*/ 2147483647 h 312"/>
                <a:gd name="T2" fmla="*/ 2147483647 w 581"/>
                <a:gd name="T3" fmla="*/ 2147483647 h 312"/>
                <a:gd name="T4" fmla="*/ 2147483647 w 581"/>
                <a:gd name="T5" fmla="*/ 2147483647 h 312"/>
                <a:gd name="T6" fmla="*/ 2147483647 w 581"/>
                <a:gd name="T7" fmla="*/ 2147483647 h 312"/>
                <a:gd name="T8" fmla="*/ 2147483647 w 581"/>
                <a:gd name="T9" fmla="*/ 2147483647 h 312"/>
                <a:gd name="T10" fmla="*/ 2147483647 w 581"/>
                <a:gd name="T11" fmla="*/ 2147483647 h 312"/>
                <a:gd name="T12" fmla="*/ 2147483647 w 581"/>
                <a:gd name="T13" fmla="*/ 2147483647 h 312"/>
                <a:gd name="T14" fmla="*/ 2147483647 w 581"/>
                <a:gd name="T15" fmla="*/ 2147483647 h 312"/>
                <a:gd name="T16" fmla="*/ 2147483647 w 581"/>
                <a:gd name="T17" fmla="*/ 2147483647 h 312"/>
                <a:gd name="T18" fmla="*/ 2147483647 w 581"/>
                <a:gd name="T19" fmla="*/ 2147483647 h 312"/>
                <a:gd name="T20" fmla="*/ 2147483647 w 581"/>
                <a:gd name="T21" fmla="*/ 2147483647 h 312"/>
                <a:gd name="T22" fmla="*/ 2147483647 w 581"/>
                <a:gd name="T23" fmla="*/ 2147483647 h 312"/>
                <a:gd name="T24" fmla="*/ 2147483647 w 581"/>
                <a:gd name="T25" fmla="*/ 2147483647 h 312"/>
                <a:gd name="T26" fmla="*/ 2147483647 w 581"/>
                <a:gd name="T27" fmla="*/ 2147483647 h 312"/>
                <a:gd name="T28" fmla="*/ 2147483647 w 581"/>
                <a:gd name="T29" fmla="*/ 2147483647 h 312"/>
                <a:gd name="T30" fmla="*/ 2147483647 w 581"/>
                <a:gd name="T31" fmla="*/ 0 h 312"/>
                <a:gd name="T32" fmla="*/ 2147483647 w 581"/>
                <a:gd name="T33" fmla="*/ 2147483647 h 312"/>
                <a:gd name="T34" fmla="*/ 2147483647 w 581"/>
                <a:gd name="T35" fmla="*/ 2147483647 h 312"/>
                <a:gd name="T36" fmla="*/ 2147483647 w 581"/>
                <a:gd name="T37" fmla="*/ 2147483647 h 312"/>
                <a:gd name="T38" fmla="*/ 2147483647 w 581"/>
                <a:gd name="T39" fmla="*/ 2147483647 h 312"/>
                <a:gd name="T40" fmla="*/ 2147483647 w 581"/>
                <a:gd name="T41" fmla="*/ 2147483647 h 312"/>
                <a:gd name="T42" fmla="*/ 2147483647 w 581"/>
                <a:gd name="T43" fmla="*/ 2147483647 h 312"/>
                <a:gd name="T44" fmla="*/ 2147483647 w 581"/>
                <a:gd name="T45" fmla="*/ 2147483647 h 312"/>
                <a:gd name="T46" fmla="*/ 0 w 581"/>
                <a:gd name="T47" fmla="*/ 2147483647 h 312"/>
                <a:gd name="T48" fmla="*/ 2147483647 w 581"/>
                <a:gd name="T49" fmla="*/ 2147483647 h 312"/>
                <a:gd name="T50" fmla="*/ 2147483647 w 581"/>
                <a:gd name="T51" fmla="*/ 2147483647 h 312"/>
                <a:gd name="T52" fmla="*/ 2147483647 w 581"/>
                <a:gd name="T53" fmla="*/ 2147483647 h 312"/>
                <a:gd name="T54" fmla="*/ 2147483647 w 581"/>
                <a:gd name="T55" fmla="*/ 2147483647 h 312"/>
                <a:gd name="T56" fmla="*/ 2147483647 w 581"/>
                <a:gd name="T57" fmla="*/ 2147483647 h 312"/>
                <a:gd name="T58" fmla="*/ 2147483647 w 581"/>
                <a:gd name="T59" fmla="*/ 2147483647 h 312"/>
                <a:gd name="T60" fmla="*/ 2147483647 w 581"/>
                <a:gd name="T61" fmla="*/ 2147483647 h 312"/>
                <a:gd name="T62" fmla="*/ 2147483647 w 581"/>
                <a:gd name="T63" fmla="*/ 2147483647 h 312"/>
                <a:gd name="T64" fmla="*/ 2147483647 w 581"/>
                <a:gd name="T65" fmla="*/ 2147483647 h 312"/>
                <a:gd name="T66" fmla="*/ 2147483647 w 581"/>
                <a:gd name="T67" fmla="*/ 2147483647 h 312"/>
                <a:gd name="T68" fmla="*/ 2147483647 w 581"/>
                <a:gd name="T69" fmla="*/ 2147483647 h 312"/>
                <a:gd name="T70" fmla="*/ 2147483647 w 581"/>
                <a:gd name="T71" fmla="*/ 2147483647 h 312"/>
                <a:gd name="T72" fmla="*/ 2147483647 w 581"/>
                <a:gd name="T73" fmla="*/ 2147483647 h 31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81"/>
                <a:gd name="T112" fmla="*/ 0 h 312"/>
                <a:gd name="T113" fmla="*/ 581 w 581"/>
                <a:gd name="T114" fmla="*/ 312 h 31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81" h="312">
                  <a:moveTo>
                    <a:pt x="497" y="248"/>
                  </a:moveTo>
                  <a:lnTo>
                    <a:pt x="531" y="200"/>
                  </a:lnTo>
                  <a:lnTo>
                    <a:pt x="556" y="176"/>
                  </a:lnTo>
                  <a:lnTo>
                    <a:pt x="581" y="152"/>
                  </a:lnTo>
                  <a:lnTo>
                    <a:pt x="564" y="120"/>
                  </a:lnTo>
                  <a:lnTo>
                    <a:pt x="522" y="112"/>
                  </a:lnTo>
                  <a:lnTo>
                    <a:pt x="480" y="104"/>
                  </a:lnTo>
                  <a:lnTo>
                    <a:pt x="463" y="80"/>
                  </a:lnTo>
                  <a:lnTo>
                    <a:pt x="413" y="64"/>
                  </a:lnTo>
                  <a:lnTo>
                    <a:pt x="413" y="88"/>
                  </a:lnTo>
                  <a:lnTo>
                    <a:pt x="387" y="104"/>
                  </a:lnTo>
                  <a:lnTo>
                    <a:pt x="345" y="72"/>
                  </a:lnTo>
                  <a:lnTo>
                    <a:pt x="354" y="40"/>
                  </a:lnTo>
                  <a:lnTo>
                    <a:pt x="312" y="40"/>
                  </a:lnTo>
                  <a:lnTo>
                    <a:pt x="269" y="24"/>
                  </a:lnTo>
                  <a:lnTo>
                    <a:pt x="227" y="0"/>
                  </a:lnTo>
                  <a:lnTo>
                    <a:pt x="227" y="24"/>
                  </a:lnTo>
                  <a:lnTo>
                    <a:pt x="202" y="8"/>
                  </a:lnTo>
                  <a:lnTo>
                    <a:pt x="168" y="8"/>
                  </a:lnTo>
                  <a:lnTo>
                    <a:pt x="160" y="40"/>
                  </a:lnTo>
                  <a:lnTo>
                    <a:pt x="118" y="56"/>
                  </a:lnTo>
                  <a:lnTo>
                    <a:pt x="76" y="80"/>
                  </a:lnTo>
                  <a:lnTo>
                    <a:pt x="34" y="88"/>
                  </a:lnTo>
                  <a:lnTo>
                    <a:pt x="0" y="112"/>
                  </a:lnTo>
                  <a:lnTo>
                    <a:pt x="34" y="152"/>
                  </a:lnTo>
                  <a:lnTo>
                    <a:pt x="25" y="176"/>
                  </a:lnTo>
                  <a:lnTo>
                    <a:pt x="84" y="224"/>
                  </a:lnTo>
                  <a:lnTo>
                    <a:pt x="160" y="280"/>
                  </a:lnTo>
                  <a:lnTo>
                    <a:pt x="152" y="288"/>
                  </a:lnTo>
                  <a:lnTo>
                    <a:pt x="194" y="312"/>
                  </a:lnTo>
                  <a:lnTo>
                    <a:pt x="244" y="296"/>
                  </a:lnTo>
                  <a:lnTo>
                    <a:pt x="269" y="248"/>
                  </a:lnTo>
                  <a:lnTo>
                    <a:pt x="345" y="272"/>
                  </a:lnTo>
                  <a:lnTo>
                    <a:pt x="430" y="272"/>
                  </a:lnTo>
                  <a:lnTo>
                    <a:pt x="430" y="280"/>
                  </a:lnTo>
                  <a:lnTo>
                    <a:pt x="455" y="248"/>
                  </a:lnTo>
                  <a:lnTo>
                    <a:pt x="497" y="248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67" name="Freeform 56"/>
            <p:cNvSpPr>
              <a:spLocks/>
            </p:cNvSpPr>
            <p:nvPr/>
          </p:nvSpPr>
          <p:spPr bwMode="auto">
            <a:xfrm>
              <a:off x="6621353" y="4596321"/>
              <a:ext cx="22057" cy="1878"/>
            </a:xfrm>
            <a:custGeom>
              <a:avLst/>
              <a:gdLst>
                <a:gd name="T0" fmla="*/ 2147483647 w 17"/>
                <a:gd name="T1" fmla="*/ 0 h 1587"/>
                <a:gd name="T2" fmla="*/ 0 w 17"/>
                <a:gd name="T3" fmla="*/ 0 h 1587"/>
                <a:gd name="T4" fmla="*/ 2147483647 w 17"/>
                <a:gd name="T5" fmla="*/ 0 h 1587"/>
                <a:gd name="T6" fmla="*/ 0 60000 65536"/>
                <a:gd name="T7" fmla="*/ 0 60000 65536"/>
                <a:gd name="T8" fmla="*/ 0 60000 65536"/>
                <a:gd name="T9" fmla="*/ 0 w 17"/>
                <a:gd name="T10" fmla="*/ 0 h 1587"/>
                <a:gd name="T11" fmla="*/ 17 w 17"/>
                <a:gd name="T12" fmla="*/ 1587 h 158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587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70" name="Freeform 59"/>
            <p:cNvSpPr>
              <a:spLocks/>
            </p:cNvSpPr>
            <p:nvPr/>
          </p:nvSpPr>
          <p:spPr bwMode="auto">
            <a:xfrm>
              <a:off x="6573565" y="4588815"/>
              <a:ext cx="11028" cy="0"/>
            </a:xfrm>
            <a:custGeom>
              <a:avLst/>
              <a:gdLst>
                <a:gd name="T0" fmla="*/ 0 w 8"/>
                <a:gd name="T1" fmla="*/ 2147483647 w 8"/>
                <a:gd name="T2" fmla="*/ 0 w 8"/>
                <a:gd name="T3" fmla="*/ 0 60000 65536"/>
                <a:gd name="T4" fmla="*/ 0 60000 65536"/>
                <a:gd name="T5" fmla="*/ 0 60000 65536"/>
                <a:gd name="T6" fmla="*/ 0 w 8"/>
                <a:gd name="T7" fmla="*/ 8 w 8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8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71" name="Freeform 60"/>
            <p:cNvSpPr>
              <a:spLocks/>
            </p:cNvSpPr>
            <p:nvPr/>
          </p:nvSpPr>
          <p:spPr bwMode="auto">
            <a:xfrm>
              <a:off x="6588269" y="4457449"/>
              <a:ext cx="38599" cy="20643"/>
            </a:xfrm>
            <a:custGeom>
              <a:avLst/>
              <a:gdLst>
                <a:gd name="T0" fmla="*/ 2147483647 w 26"/>
                <a:gd name="T1" fmla="*/ 2147483647 h 16"/>
                <a:gd name="T2" fmla="*/ 0 w 26"/>
                <a:gd name="T3" fmla="*/ 0 h 16"/>
                <a:gd name="T4" fmla="*/ 0 w 26"/>
                <a:gd name="T5" fmla="*/ 2147483647 h 16"/>
                <a:gd name="T6" fmla="*/ 2147483647 w 26"/>
                <a:gd name="T7" fmla="*/ 2147483647 h 16"/>
                <a:gd name="T8" fmla="*/ 2147483647 w 26"/>
                <a:gd name="T9" fmla="*/ 2147483647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6"/>
                <a:gd name="T17" fmla="*/ 26 w 2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6">
                  <a:moveTo>
                    <a:pt x="26" y="16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7" y="16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73" name="Freeform 62"/>
            <p:cNvSpPr>
              <a:spLocks/>
            </p:cNvSpPr>
            <p:nvPr/>
          </p:nvSpPr>
          <p:spPr bwMode="auto">
            <a:xfrm>
              <a:off x="6588269" y="4457449"/>
              <a:ext cx="38599" cy="20643"/>
            </a:xfrm>
            <a:custGeom>
              <a:avLst/>
              <a:gdLst>
                <a:gd name="T0" fmla="*/ 2147483647 w 26"/>
                <a:gd name="T1" fmla="*/ 2147483647 h 16"/>
                <a:gd name="T2" fmla="*/ 0 w 26"/>
                <a:gd name="T3" fmla="*/ 0 h 16"/>
                <a:gd name="T4" fmla="*/ 0 w 26"/>
                <a:gd name="T5" fmla="*/ 2147483647 h 16"/>
                <a:gd name="T6" fmla="*/ 2147483647 w 26"/>
                <a:gd name="T7" fmla="*/ 2147483647 h 16"/>
                <a:gd name="T8" fmla="*/ 2147483647 w 26"/>
                <a:gd name="T9" fmla="*/ 2147483647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6"/>
                <a:gd name="T17" fmla="*/ 26 w 26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6">
                  <a:moveTo>
                    <a:pt x="26" y="16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7" y="16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rgbClr val="FFBF27">
                <a:lumMod val="40000"/>
                <a:lumOff val="60000"/>
              </a:srgb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78" name="Freeform 82"/>
            <p:cNvSpPr>
              <a:spLocks/>
            </p:cNvSpPr>
            <p:nvPr/>
          </p:nvSpPr>
          <p:spPr bwMode="auto">
            <a:xfrm>
              <a:off x="5978043" y="3603577"/>
              <a:ext cx="1202072" cy="895158"/>
            </a:xfrm>
            <a:custGeom>
              <a:avLst/>
              <a:gdLst>
                <a:gd name="T0" fmla="*/ 2147483647 w 860"/>
                <a:gd name="T1" fmla="*/ 2147483647 h 656"/>
                <a:gd name="T2" fmla="*/ 2147483647 w 860"/>
                <a:gd name="T3" fmla="*/ 2147483647 h 656"/>
                <a:gd name="T4" fmla="*/ 2147483647 w 860"/>
                <a:gd name="T5" fmla="*/ 2147483647 h 656"/>
                <a:gd name="T6" fmla="*/ 2147483647 w 860"/>
                <a:gd name="T7" fmla="*/ 2147483647 h 656"/>
                <a:gd name="T8" fmla="*/ 2147483647 w 860"/>
                <a:gd name="T9" fmla="*/ 2147483647 h 656"/>
                <a:gd name="T10" fmla="*/ 2147483647 w 860"/>
                <a:gd name="T11" fmla="*/ 2147483647 h 656"/>
                <a:gd name="T12" fmla="*/ 2147483647 w 860"/>
                <a:gd name="T13" fmla="*/ 2147483647 h 656"/>
                <a:gd name="T14" fmla="*/ 2147483647 w 860"/>
                <a:gd name="T15" fmla="*/ 2147483647 h 656"/>
                <a:gd name="T16" fmla="*/ 2147483647 w 860"/>
                <a:gd name="T17" fmla="*/ 2147483647 h 656"/>
                <a:gd name="T18" fmla="*/ 2147483647 w 860"/>
                <a:gd name="T19" fmla="*/ 2147483647 h 656"/>
                <a:gd name="T20" fmla="*/ 2147483647 w 860"/>
                <a:gd name="T21" fmla="*/ 2147483647 h 656"/>
                <a:gd name="T22" fmla="*/ 2147483647 w 860"/>
                <a:gd name="T23" fmla="*/ 2147483647 h 656"/>
                <a:gd name="T24" fmla="*/ 2147483647 w 860"/>
                <a:gd name="T25" fmla="*/ 2147483647 h 656"/>
                <a:gd name="T26" fmla="*/ 2147483647 w 860"/>
                <a:gd name="T27" fmla="*/ 2147483647 h 656"/>
                <a:gd name="T28" fmla="*/ 2147483647 w 860"/>
                <a:gd name="T29" fmla="*/ 2147483647 h 656"/>
                <a:gd name="T30" fmla="*/ 2147483647 w 860"/>
                <a:gd name="T31" fmla="*/ 2147483647 h 656"/>
                <a:gd name="T32" fmla="*/ 2147483647 w 860"/>
                <a:gd name="T33" fmla="*/ 2147483647 h 656"/>
                <a:gd name="T34" fmla="*/ 2147483647 w 860"/>
                <a:gd name="T35" fmla="*/ 2147483647 h 656"/>
                <a:gd name="T36" fmla="*/ 2147483647 w 860"/>
                <a:gd name="T37" fmla="*/ 0 h 656"/>
                <a:gd name="T38" fmla="*/ 2147483647 w 860"/>
                <a:gd name="T39" fmla="*/ 2147483647 h 656"/>
                <a:gd name="T40" fmla="*/ 2147483647 w 860"/>
                <a:gd name="T41" fmla="*/ 2147483647 h 656"/>
                <a:gd name="T42" fmla="*/ 2147483647 w 860"/>
                <a:gd name="T43" fmla="*/ 2147483647 h 656"/>
                <a:gd name="T44" fmla="*/ 2147483647 w 860"/>
                <a:gd name="T45" fmla="*/ 2147483647 h 656"/>
                <a:gd name="T46" fmla="*/ 2147483647 w 860"/>
                <a:gd name="T47" fmla="*/ 2147483647 h 656"/>
                <a:gd name="T48" fmla="*/ 2147483647 w 860"/>
                <a:gd name="T49" fmla="*/ 2147483647 h 656"/>
                <a:gd name="T50" fmla="*/ 2147483647 w 860"/>
                <a:gd name="T51" fmla="*/ 2147483647 h 656"/>
                <a:gd name="T52" fmla="*/ 2147483647 w 860"/>
                <a:gd name="T53" fmla="*/ 2147483647 h 656"/>
                <a:gd name="T54" fmla="*/ 0 w 860"/>
                <a:gd name="T55" fmla="*/ 2147483647 h 656"/>
                <a:gd name="T56" fmla="*/ 2147483647 w 860"/>
                <a:gd name="T57" fmla="*/ 2147483647 h 656"/>
                <a:gd name="T58" fmla="*/ 2147483647 w 860"/>
                <a:gd name="T59" fmla="*/ 2147483647 h 656"/>
                <a:gd name="T60" fmla="*/ 2147483647 w 860"/>
                <a:gd name="T61" fmla="*/ 2147483647 h 656"/>
                <a:gd name="T62" fmla="*/ 2147483647 w 860"/>
                <a:gd name="T63" fmla="*/ 2147483647 h 656"/>
                <a:gd name="T64" fmla="*/ 2147483647 w 860"/>
                <a:gd name="T65" fmla="*/ 2147483647 h 656"/>
                <a:gd name="T66" fmla="*/ 2147483647 w 860"/>
                <a:gd name="T67" fmla="*/ 2147483647 h 656"/>
                <a:gd name="T68" fmla="*/ 2147483647 w 860"/>
                <a:gd name="T69" fmla="*/ 2147483647 h 656"/>
                <a:gd name="T70" fmla="*/ 2147483647 w 860"/>
                <a:gd name="T71" fmla="*/ 2147483647 h 656"/>
                <a:gd name="T72" fmla="*/ 2147483647 w 860"/>
                <a:gd name="T73" fmla="*/ 2147483647 h 656"/>
                <a:gd name="T74" fmla="*/ 2147483647 w 860"/>
                <a:gd name="T75" fmla="*/ 2147483647 h 656"/>
                <a:gd name="T76" fmla="*/ 2147483647 w 860"/>
                <a:gd name="T77" fmla="*/ 2147483647 h 656"/>
                <a:gd name="T78" fmla="*/ 2147483647 w 860"/>
                <a:gd name="T79" fmla="*/ 2147483647 h 656"/>
                <a:gd name="T80" fmla="*/ 2147483647 w 860"/>
                <a:gd name="T81" fmla="*/ 2147483647 h 656"/>
                <a:gd name="T82" fmla="*/ 2147483647 w 860"/>
                <a:gd name="T83" fmla="*/ 2147483647 h 656"/>
                <a:gd name="T84" fmla="*/ 2147483647 w 860"/>
                <a:gd name="T85" fmla="*/ 2147483647 h 656"/>
                <a:gd name="T86" fmla="*/ 2147483647 w 860"/>
                <a:gd name="T87" fmla="*/ 2147483647 h 656"/>
                <a:gd name="T88" fmla="*/ 2147483647 w 860"/>
                <a:gd name="T89" fmla="*/ 2147483647 h 656"/>
                <a:gd name="T90" fmla="*/ 2147483647 w 860"/>
                <a:gd name="T91" fmla="*/ 2147483647 h 656"/>
                <a:gd name="T92" fmla="*/ 2147483647 w 860"/>
                <a:gd name="T93" fmla="*/ 2147483647 h 656"/>
                <a:gd name="T94" fmla="*/ 2147483647 w 860"/>
                <a:gd name="T95" fmla="*/ 2147483647 h 656"/>
                <a:gd name="T96" fmla="*/ 2147483647 w 860"/>
                <a:gd name="T97" fmla="*/ 2147483647 h 656"/>
                <a:gd name="T98" fmla="*/ 2147483647 w 860"/>
                <a:gd name="T99" fmla="*/ 2147483647 h 656"/>
                <a:gd name="T100" fmla="*/ 2147483647 w 860"/>
                <a:gd name="T101" fmla="*/ 2147483647 h 656"/>
                <a:gd name="T102" fmla="*/ 2147483647 w 860"/>
                <a:gd name="T103" fmla="*/ 2147483647 h 656"/>
                <a:gd name="T104" fmla="*/ 2147483647 w 860"/>
                <a:gd name="T105" fmla="*/ 2147483647 h 656"/>
                <a:gd name="T106" fmla="*/ 2147483647 w 860"/>
                <a:gd name="T107" fmla="*/ 2147483647 h 656"/>
                <a:gd name="T108" fmla="*/ 2147483647 w 860"/>
                <a:gd name="T109" fmla="*/ 2147483647 h 656"/>
                <a:gd name="T110" fmla="*/ 2147483647 w 860"/>
                <a:gd name="T111" fmla="*/ 2147483647 h 656"/>
                <a:gd name="T112" fmla="*/ 2147483647 w 860"/>
                <a:gd name="T113" fmla="*/ 2147483647 h 656"/>
                <a:gd name="T114" fmla="*/ 2147483647 w 860"/>
                <a:gd name="T115" fmla="*/ 2147483647 h 656"/>
                <a:gd name="T116" fmla="*/ 2147483647 w 860"/>
                <a:gd name="T117" fmla="*/ 2147483647 h 656"/>
                <a:gd name="T118" fmla="*/ 2147483647 w 860"/>
                <a:gd name="T119" fmla="*/ 2147483647 h 6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60"/>
                <a:gd name="T181" fmla="*/ 0 h 656"/>
                <a:gd name="T182" fmla="*/ 860 w 860"/>
                <a:gd name="T183" fmla="*/ 656 h 6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60" h="656">
                  <a:moveTo>
                    <a:pt x="775" y="560"/>
                  </a:moveTo>
                  <a:lnTo>
                    <a:pt x="826" y="464"/>
                  </a:lnTo>
                  <a:lnTo>
                    <a:pt x="860" y="456"/>
                  </a:lnTo>
                  <a:lnTo>
                    <a:pt x="851" y="416"/>
                  </a:lnTo>
                  <a:lnTo>
                    <a:pt x="817" y="352"/>
                  </a:lnTo>
                  <a:lnTo>
                    <a:pt x="792" y="320"/>
                  </a:lnTo>
                  <a:lnTo>
                    <a:pt x="784" y="264"/>
                  </a:lnTo>
                  <a:lnTo>
                    <a:pt x="750" y="256"/>
                  </a:lnTo>
                  <a:lnTo>
                    <a:pt x="750" y="232"/>
                  </a:lnTo>
                  <a:lnTo>
                    <a:pt x="792" y="184"/>
                  </a:lnTo>
                  <a:lnTo>
                    <a:pt x="750" y="104"/>
                  </a:lnTo>
                  <a:lnTo>
                    <a:pt x="725" y="40"/>
                  </a:lnTo>
                  <a:lnTo>
                    <a:pt x="666" y="16"/>
                  </a:lnTo>
                  <a:lnTo>
                    <a:pt x="531" y="40"/>
                  </a:lnTo>
                  <a:lnTo>
                    <a:pt x="447" y="24"/>
                  </a:lnTo>
                  <a:lnTo>
                    <a:pt x="405" y="48"/>
                  </a:lnTo>
                  <a:lnTo>
                    <a:pt x="362" y="40"/>
                  </a:lnTo>
                  <a:lnTo>
                    <a:pt x="329" y="24"/>
                  </a:lnTo>
                  <a:lnTo>
                    <a:pt x="295" y="0"/>
                  </a:lnTo>
                  <a:lnTo>
                    <a:pt x="253" y="8"/>
                  </a:lnTo>
                  <a:lnTo>
                    <a:pt x="177" y="40"/>
                  </a:lnTo>
                  <a:lnTo>
                    <a:pt x="169" y="72"/>
                  </a:lnTo>
                  <a:lnTo>
                    <a:pt x="126" y="88"/>
                  </a:lnTo>
                  <a:lnTo>
                    <a:pt x="25" y="128"/>
                  </a:lnTo>
                  <a:lnTo>
                    <a:pt x="9" y="128"/>
                  </a:lnTo>
                  <a:lnTo>
                    <a:pt x="17" y="176"/>
                  </a:lnTo>
                  <a:lnTo>
                    <a:pt x="25" y="208"/>
                  </a:lnTo>
                  <a:lnTo>
                    <a:pt x="0" y="256"/>
                  </a:lnTo>
                  <a:lnTo>
                    <a:pt x="51" y="288"/>
                  </a:lnTo>
                  <a:lnTo>
                    <a:pt x="51" y="320"/>
                  </a:lnTo>
                  <a:lnTo>
                    <a:pt x="76" y="360"/>
                  </a:lnTo>
                  <a:lnTo>
                    <a:pt x="59" y="400"/>
                  </a:lnTo>
                  <a:lnTo>
                    <a:pt x="84" y="432"/>
                  </a:lnTo>
                  <a:lnTo>
                    <a:pt x="84" y="472"/>
                  </a:lnTo>
                  <a:lnTo>
                    <a:pt x="126" y="496"/>
                  </a:lnTo>
                  <a:lnTo>
                    <a:pt x="169" y="512"/>
                  </a:lnTo>
                  <a:lnTo>
                    <a:pt x="211" y="512"/>
                  </a:lnTo>
                  <a:lnTo>
                    <a:pt x="202" y="544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0" y="536"/>
                  </a:lnTo>
                  <a:lnTo>
                    <a:pt x="320" y="552"/>
                  </a:lnTo>
                  <a:lnTo>
                    <a:pt x="337" y="576"/>
                  </a:lnTo>
                  <a:lnTo>
                    <a:pt x="379" y="584"/>
                  </a:lnTo>
                  <a:lnTo>
                    <a:pt x="421" y="592"/>
                  </a:lnTo>
                  <a:lnTo>
                    <a:pt x="438" y="624"/>
                  </a:lnTo>
                  <a:lnTo>
                    <a:pt x="464" y="640"/>
                  </a:lnTo>
                  <a:lnTo>
                    <a:pt x="497" y="616"/>
                  </a:lnTo>
                  <a:lnTo>
                    <a:pt x="523" y="640"/>
                  </a:lnTo>
                  <a:lnTo>
                    <a:pt x="531" y="656"/>
                  </a:lnTo>
                  <a:lnTo>
                    <a:pt x="556" y="656"/>
                  </a:lnTo>
                  <a:lnTo>
                    <a:pt x="581" y="632"/>
                  </a:lnTo>
                  <a:lnTo>
                    <a:pt x="615" y="632"/>
                  </a:lnTo>
                  <a:lnTo>
                    <a:pt x="640" y="616"/>
                  </a:lnTo>
                  <a:lnTo>
                    <a:pt x="683" y="616"/>
                  </a:lnTo>
                  <a:lnTo>
                    <a:pt x="708" y="624"/>
                  </a:lnTo>
                  <a:lnTo>
                    <a:pt x="767" y="632"/>
                  </a:lnTo>
                  <a:lnTo>
                    <a:pt x="758" y="640"/>
                  </a:lnTo>
                  <a:lnTo>
                    <a:pt x="792" y="632"/>
                  </a:lnTo>
                  <a:lnTo>
                    <a:pt x="775" y="56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80" name="PL"/>
            <p:cNvSpPr>
              <a:spLocks/>
            </p:cNvSpPr>
            <p:nvPr/>
          </p:nvSpPr>
          <p:spPr bwMode="auto">
            <a:xfrm>
              <a:off x="5978043" y="3603577"/>
              <a:ext cx="1202072" cy="895158"/>
            </a:xfrm>
            <a:custGeom>
              <a:avLst/>
              <a:gdLst>
                <a:gd name="T0" fmla="*/ 2147483647 w 860"/>
                <a:gd name="T1" fmla="*/ 2147483647 h 656"/>
                <a:gd name="T2" fmla="*/ 2147483647 w 860"/>
                <a:gd name="T3" fmla="*/ 2147483647 h 656"/>
                <a:gd name="T4" fmla="*/ 2147483647 w 860"/>
                <a:gd name="T5" fmla="*/ 2147483647 h 656"/>
                <a:gd name="T6" fmla="*/ 2147483647 w 860"/>
                <a:gd name="T7" fmla="*/ 2147483647 h 656"/>
                <a:gd name="T8" fmla="*/ 2147483647 w 860"/>
                <a:gd name="T9" fmla="*/ 2147483647 h 656"/>
                <a:gd name="T10" fmla="*/ 2147483647 w 860"/>
                <a:gd name="T11" fmla="*/ 2147483647 h 656"/>
                <a:gd name="T12" fmla="*/ 2147483647 w 860"/>
                <a:gd name="T13" fmla="*/ 2147483647 h 656"/>
                <a:gd name="T14" fmla="*/ 2147483647 w 860"/>
                <a:gd name="T15" fmla="*/ 2147483647 h 656"/>
                <a:gd name="T16" fmla="*/ 2147483647 w 860"/>
                <a:gd name="T17" fmla="*/ 2147483647 h 656"/>
                <a:gd name="T18" fmla="*/ 2147483647 w 860"/>
                <a:gd name="T19" fmla="*/ 2147483647 h 656"/>
                <a:gd name="T20" fmla="*/ 2147483647 w 860"/>
                <a:gd name="T21" fmla="*/ 2147483647 h 656"/>
                <a:gd name="T22" fmla="*/ 2147483647 w 860"/>
                <a:gd name="T23" fmla="*/ 2147483647 h 656"/>
                <a:gd name="T24" fmla="*/ 2147483647 w 860"/>
                <a:gd name="T25" fmla="*/ 2147483647 h 656"/>
                <a:gd name="T26" fmla="*/ 2147483647 w 860"/>
                <a:gd name="T27" fmla="*/ 2147483647 h 656"/>
                <a:gd name="T28" fmla="*/ 2147483647 w 860"/>
                <a:gd name="T29" fmla="*/ 2147483647 h 656"/>
                <a:gd name="T30" fmla="*/ 2147483647 w 860"/>
                <a:gd name="T31" fmla="*/ 2147483647 h 656"/>
                <a:gd name="T32" fmla="*/ 2147483647 w 860"/>
                <a:gd name="T33" fmla="*/ 2147483647 h 656"/>
                <a:gd name="T34" fmla="*/ 2147483647 w 860"/>
                <a:gd name="T35" fmla="*/ 2147483647 h 656"/>
                <a:gd name="T36" fmla="*/ 2147483647 w 860"/>
                <a:gd name="T37" fmla="*/ 0 h 656"/>
                <a:gd name="T38" fmla="*/ 2147483647 w 860"/>
                <a:gd name="T39" fmla="*/ 2147483647 h 656"/>
                <a:gd name="T40" fmla="*/ 2147483647 w 860"/>
                <a:gd name="T41" fmla="*/ 2147483647 h 656"/>
                <a:gd name="T42" fmla="*/ 2147483647 w 860"/>
                <a:gd name="T43" fmla="*/ 2147483647 h 656"/>
                <a:gd name="T44" fmla="*/ 2147483647 w 860"/>
                <a:gd name="T45" fmla="*/ 2147483647 h 656"/>
                <a:gd name="T46" fmla="*/ 2147483647 w 860"/>
                <a:gd name="T47" fmla="*/ 2147483647 h 656"/>
                <a:gd name="T48" fmla="*/ 2147483647 w 860"/>
                <a:gd name="T49" fmla="*/ 2147483647 h 656"/>
                <a:gd name="T50" fmla="*/ 2147483647 w 860"/>
                <a:gd name="T51" fmla="*/ 2147483647 h 656"/>
                <a:gd name="T52" fmla="*/ 2147483647 w 860"/>
                <a:gd name="T53" fmla="*/ 2147483647 h 656"/>
                <a:gd name="T54" fmla="*/ 0 w 860"/>
                <a:gd name="T55" fmla="*/ 2147483647 h 656"/>
                <a:gd name="T56" fmla="*/ 2147483647 w 860"/>
                <a:gd name="T57" fmla="*/ 2147483647 h 656"/>
                <a:gd name="T58" fmla="*/ 2147483647 w 860"/>
                <a:gd name="T59" fmla="*/ 2147483647 h 656"/>
                <a:gd name="T60" fmla="*/ 2147483647 w 860"/>
                <a:gd name="T61" fmla="*/ 2147483647 h 656"/>
                <a:gd name="T62" fmla="*/ 2147483647 w 860"/>
                <a:gd name="T63" fmla="*/ 2147483647 h 656"/>
                <a:gd name="T64" fmla="*/ 2147483647 w 860"/>
                <a:gd name="T65" fmla="*/ 2147483647 h 656"/>
                <a:gd name="T66" fmla="*/ 2147483647 w 860"/>
                <a:gd name="T67" fmla="*/ 2147483647 h 656"/>
                <a:gd name="T68" fmla="*/ 2147483647 w 860"/>
                <a:gd name="T69" fmla="*/ 2147483647 h 656"/>
                <a:gd name="T70" fmla="*/ 2147483647 w 860"/>
                <a:gd name="T71" fmla="*/ 2147483647 h 656"/>
                <a:gd name="T72" fmla="*/ 2147483647 w 860"/>
                <a:gd name="T73" fmla="*/ 2147483647 h 656"/>
                <a:gd name="T74" fmla="*/ 2147483647 w 860"/>
                <a:gd name="T75" fmla="*/ 2147483647 h 656"/>
                <a:gd name="T76" fmla="*/ 2147483647 w 860"/>
                <a:gd name="T77" fmla="*/ 2147483647 h 656"/>
                <a:gd name="T78" fmla="*/ 2147483647 w 860"/>
                <a:gd name="T79" fmla="*/ 2147483647 h 656"/>
                <a:gd name="T80" fmla="*/ 2147483647 w 860"/>
                <a:gd name="T81" fmla="*/ 2147483647 h 656"/>
                <a:gd name="T82" fmla="*/ 2147483647 w 860"/>
                <a:gd name="T83" fmla="*/ 2147483647 h 656"/>
                <a:gd name="T84" fmla="*/ 2147483647 w 860"/>
                <a:gd name="T85" fmla="*/ 2147483647 h 656"/>
                <a:gd name="T86" fmla="*/ 2147483647 w 860"/>
                <a:gd name="T87" fmla="*/ 2147483647 h 656"/>
                <a:gd name="T88" fmla="*/ 2147483647 w 860"/>
                <a:gd name="T89" fmla="*/ 2147483647 h 656"/>
                <a:gd name="T90" fmla="*/ 2147483647 w 860"/>
                <a:gd name="T91" fmla="*/ 2147483647 h 656"/>
                <a:gd name="T92" fmla="*/ 2147483647 w 860"/>
                <a:gd name="T93" fmla="*/ 2147483647 h 656"/>
                <a:gd name="T94" fmla="*/ 2147483647 w 860"/>
                <a:gd name="T95" fmla="*/ 2147483647 h 656"/>
                <a:gd name="T96" fmla="*/ 2147483647 w 860"/>
                <a:gd name="T97" fmla="*/ 2147483647 h 656"/>
                <a:gd name="T98" fmla="*/ 2147483647 w 860"/>
                <a:gd name="T99" fmla="*/ 2147483647 h 656"/>
                <a:gd name="T100" fmla="*/ 2147483647 w 860"/>
                <a:gd name="T101" fmla="*/ 2147483647 h 656"/>
                <a:gd name="T102" fmla="*/ 2147483647 w 860"/>
                <a:gd name="T103" fmla="*/ 2147483647 h 656"/>
                <a:gd name="T104" fmla="*/ 2147483647 w 860"/>
                <a:gd name="T105" fmla="*/ 2147483647 h 656"/>
                <a:gd name="T106" fmla="*/ 2147483647 w 860"/>
                <a:gd name="T107" fmla="*/ 2147483647 h 656"/>
                <a:gd name="T108" fmla="*/ 2147483647 w 860"/>
                <a:gd name="T109" fmla="*/ 2147483647 h 656"/>
                <a:gd name="T110" fmla="*/ 2147483647 w 860"/>
                <a:gd name="T111" fmla="*/ 2147483647 h 656"/>
                <a:gd name="T112" fmla="*/ 2147483647 w 860"/>
                <a:gd name="T113" fmla="*/ 2147483647 h 656"/>
                <a:gd name="T114" fmla="*/ 2147483647 w 860"/>
                <a:gd name="T115" fmla="*/ 2147483647 h 656"/>
                <a:gd name="T116" fmla="*/ 2147483647 w 860"/>
                <a:gd name="T117" fmla="*/ 2147483647 h 656"/>
                <a:gd name="T118" fmla="*/ 2147483647 w 860"/>
                <a:gd name="T119" fmla="*/ 2147483647 h 656"/>
                <a:gd name="T120" fmla="*/ 2147483647 w 860"/>
                <a:gd name="T121" fmla="*/ 2147483647 h 6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60"/>
                <a:gd name="T184" fmla="*/ 0 h 656"/>
                <a:gd name="T185" fmla="*/ 860 w 860"/>
                <a:gd name="T186" fmla="*/ 656 h 6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60" h="656">
                  <a:moveTo>
                    <a:pt x="775" y="560"/>
                  </a:moveTo>
                  <a:lnTo>
                    <a:pt x="826" y="464"/>
                  </a:lnTo>
                  <a:lnTo>
                    <a:pt x="860" y="456"/>
                  </a:lnTo>
                  <a:lnTo>
                    <a:pt x="851" y="416"/>
                  </a:lnTo>
                  <a:lnTo>
                    <a:pt x="817" y="352"/>
                  </a:lnTo>
                  <a:lnTo>
                    <a:pt x="792" y="320"/>
                  </a:lnTo>
                  <a:lnTo>
                    <a:pt x="784" y="264"/>
                  </a:lnTo>
                  <a:lnTo>
                    <a:pt x="750" y="256"/>
                  </a:lnTo>
                  <a:lnTo>
                    <a:pt x="750" y="232"/>
                  </a:lnTo>
                  <a:lnTo>
                    <a:pt x="792" y="184"/>
                  </a:lnTo>
                  <a:lnTo>
                    <a:pt x="750" y="104"/>
                  </a:lnTo>
                  <a:lnTo>
                    <a:pt x="725" y="40"/>
                  </a:lnTo>
                  <a:lnTo>
                    <a:pt x="666" y="16"/>
                  </a:lnTo>
                  <a:lnTo>
                    <a:pt x="531" y="40"/>
                  </a:lnTo>
                  <a:lnTo>
                    <a:pt x="447" y="24"/>
                  </a:lnTo>
                  <a:lnTo>
                    <a:pt x="405" y="48"/>
                  </a:lnTo>
                  <a:lnTo>
                    <a:pt x="362" y="40"/>
                  </a:lnTo>
                  <a:lnTo>
                    <a:pt x="329" y="24"/>
                  </a:lnTo>
                  <a:lnTo>
                    <a:pt x="295" y="0"/>
                  </a:lnTo>
                  <a:lnTo>
                    <a:pt x="253" y="8"/>
                  </a:lnTo>
                  <a:lnTo>
                    <a:pt x="177" y="40"/>
                  </a:lnTo>
                  <a:lnTo>
                    <a:pt x="169" y="72"/>
                  </a:lnTo>
                  <a:lnTo>
                    <a:pt x="126" y="88"/>
                  </a:lnTo>
                  <a:lnTo>
                    <a:pt x="25" y="128"/>
                  </a:lnTo>
                  <a:lnTo>
                    <a:pt x="9" y="128"/>
                  </a:lnTo>
                  <a:lnTo>
                    <a:pt x="17" y="176"/>
                  </a:lnTo>
                  <a:lnTo>
                    <a:pt x="25" y="208"/>
                  </a:lnTo>
                  <a:lnTo>
                    <a:pt x="0" y="256"/>
                  </a:lnTo>
                  <a:lnTo>
                    <a:pt x="51" y="288"/>
                  </a:lnTo>
                  <a:lnTo>
                    <a:pt x="51" y="320"/>
                  </a:lnTo>
                  <a:lnTo>
                    <a:pt x="76" y="360"/>
                  </a:lnTo>
                  <a:lnTo>
                    <a:pt x="59" y="400"/>
                  </a:lnTo>
                  <a:lnTo>
                    <a:pt x="84" y="432"/>
                  </a:lnTo>
                  <a:lnTo>
                    <a:pt x="84" y="472"/>
                  </a:lnTo>
                  <a:lnTo>
                    <a:pt x="126" y="496"/>
                  </a:lnTo>
                  <a:lnTo>
                    <a:pt x="169" y="512"/>
                  </a:lnTo>
                  <a:lnTo>
                    <a:pt x="211" y="512"/>
                  </a:lnTo>
                  <a:lnTo>
                    <a:pt x="202" y="544"/>
                  </a:lnTo>
                  <a:lnTo>
                    <a:pt x="244" y="576"/>
                  </a:lnTo>
                  <a:lnTo>
                    <a:pt x="270" y="560"/>
                  </a:lnTo>
                  <a:lnTo>
                    <a:pt x="270" y="536"/>
                  </a:lnTo>
                  <a:lnTo>
                    <a:pt x="320" y="552"/>
                  </a:lnTo>
                  <a:lnTo>
                    <a:pt x="337" y="576"/>
                  </a:lnTo>
                  <a:lnTo>
                    <a:pt x="379" y="584"/>
                  </a:lnTo>
                  <a:lnTo>
                    <a:pt x="421" y="592"/>
                  </a:lnTo>
                  <a:lnTo>
                    <a:pt x="438" y="624"/>
                  </a:lnTo>
                  <a:lnTo>
                    <a:pt x="464" y="640"/>
                  </a:lnTo>
                  <a:lnTo>
                    <a:pt x="497" y="616"/>
                  </a:lnTo>
                  <a:lnTo>
                    <a:pt x="523" y="640"/>
                  </a:lnTo>
                  <a:lnTo>
                    <a:pt x="531" y="656"/>
                  </a:lnTo>
                  <a:lnTo>
                    <a:pt x="556" y="656"/>
                  </a:lnTo>
                  <a:lnTo>
                    <a:pt x="581" y="632"/>
                  </a:lnTo>
                  <a:lnTo>
                    <a:pt x="615" y="632"/>
                  </a:lnTo>
                  <a:lnTo>
                    <a:pt x="640" y="616"/>
                  </a:lnTo>
                  <a:lnTo>
                    <a:pt x="683" y="616"/>
                  </a:lnTo>
                  <a:lnTo>
                    <a:pt x="708" y="624"/>
                  </a:lnTo>
                  <a:lnTo>
                    <a:pt x="767" y="632"/>
                  </a:lnTo>
                  <a:lnTo>
                    <a:pt x="758" y="640"/>
                  </a:lnTo>
                  <a:lnTo>
                    <a:pt x="792" y="632"/>
                  </a:lnTo>
                  <a:lnTo>
                    <a:pt x="775" y="560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5678443" y="3697409"/>
              <a:ext cx="93740" cy="90079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w 67"/>
                <a:gd name="T13" fmla="*/ 2147483647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4"/>
                <a:gd name="T23" fmla="*/ 67 w 67"/>
                <a:gd name="T24" fmla="*/ 64 h 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BF27">
                <a:lumMod val="20000"/>
                <a:lumOff val="80000"/>
              </a:srgbClr>
            </a:solidFill>
            <a:ln w="9525">
              <a:noFill/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89" name="Freeform 17"/>
            <p:cNvSpPr>
              <a:spLocks/>
            </p:cNvSpPr>
            <p:nvPr/>
          </p:nvSpPr>
          <p:spPr bwMode="auto">
            <a:xfrm>
              <a:off x="5678443" y="3697409"/>
              <a:ext cx="93740" cy="90079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"/>
                <a:gd name="T19" fmla="*/ 0 h 64"/>
                <a:gd name="T20" fmla="*/ 67 w 67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solidFill>
              <a:srgbClr val="FFBF27">
                <a:lumMod val="20000"/>
                <a:lumOff val="80000"/>
              </a:srgb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defTabSz="685800" eaLnBrk="0" hangingPunct="0">
                <a:lnSpc>
                  <a:spcPct val="100000"/>
                </a:lnSpc>
                <a:defRPr/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90" name="Freeform 18"/>
            <p:cNvSpPr>
              <a:spLocks/>
            </p:cNvSpPr>
            <p:nvPr/>
          </p:nvSpPr>
          <p:spPr bwMode="auto">
            <a:xfrm>
              <a:off x="5678443" y="3697409"/>
              <a:ext cx="93740" cy="90079"/>
            </a:xfrm>
            <a:custGeom>
              <a:avLst/>
              <a:gdLst>
                <a:gd name="T0" fmla="*/ 0 w 67"/>
                <a:gd name="T1" fmla="*/ 2147483647 h 64"/>
                <a:gd name="T2" fmla="*/ 2147483647 w 67"/>
                <a:gd name="T3" fmla="*/ 2147483647 h 64"/>
                <a:gd name="T4" fmla="*/ 2147483647 w 67"/>
                <a:gd name="T5" fmla="*/ 2147483647 h 64"/>
                <a:gd name="T6" fmla="*/ 2147483647 w 67"/>
                <a:gd name="T7" fmla="*/ 2147483647 h 64"/>
                <a:gd name="T8" fmla="*/ 2147483647 w 67"/>
                <a:gd name="T9" fmla="*/ 0 h 64"/>
                <a:gd name="T10" fmla="*/ 0 w 67"/>
                <a:gd name="T11" fmla="*/ 2147483647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7"/>
                <a:gd name="T19" fmla="*/ 0 h 64"/>
                <a:gd name="T20" fmla="*/ 67 w 67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7" h="64">
                  <a:moveTo>
                    <a:pt x="0" y="24"/>
                  </a:moveTo>
                  <a:lnTo>
                    <a:pt x="17" y="56"/>
                  </a:lnTo>
                  <a:lnTo>
                    <a:pt x="51" y="64"/>
                  </a:lnTo>
                  <a:lnTo>
                    <a:pt x="67" y="48"/>
                  </a:lnTo>
                  <a:lnTo>
                    <a:pt x="59" y="0"/>
                  </a:lnTo>
                  <a:lnTo>
                    <a:pt x="0" y="8"/>
                  </a:lnTo>
                </a:path>
              </a:pathLst>
            </a:custGeom>
            <a:solidFill>
              <a:srgbClr val="FFFFFF">
                <a:lumMod val="85000"/>
              </a:srgbClr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sp>
          <p:nvSpPr>
            <p:cNvPr id="91" name="BE"/>
            <p:cNvSpPr>
              <a:spLocks/>
            </p:cNvSpPr>
            <p:nvPr/>
          </p:nvSpPr>
          <p:spPr bwMode="auto">
            <a:xfrm>
              <a:off x="4634443" y="4194719"/>
              <a:ext cx="459507" cy="317153"/>
            </a:xfrm>
            <a:custGeom>
              <a:avLst/>
              <a:gdLst>
                <a:gd name="T0" fmla="*/ 2147483647 w 328"/>
                <a:gd name="T1" fmla="*/ 2147483647 h 232"/>
                <a:gd name="T2" fmla="*/ 2147483647 w 328"/>
                <a:gd name="T3" fmla="*/ 2147483647 h 232"/>
                <a:gd name="T4" fmla="*/ 2147483647 w 328"/>
                <a:gd name="T5" fmla="*/ 2147483647 h 232"/>
                <a:gd name="T6" fmla="*/ 2147483647 w 328"/>
                <a:gd name="T7" fmla="*/ 2147483647 h 232"/>
                <a:gd name="T8" fmla="*/ 2147483647 w 328"/>
                <a:gd name="T9" fmla="*/ 2147483647 h 232"/>
                <a:gd name="T10" fmla="*/ 2147483647 w 328"/>
                <a:gd name="T11" fmla="*/ 2147483647 h 232"/>
                <a:gd name="T12" fmla="*/ 2147483647 w 328"/>
                <a:gd name="T13" fmla="*/ 2147483647 h 232"/>
                <a:gd name="T14" fmla="*/ 2147483647 w 328"/>
                <a:gd name="T15" fmla="*/ 2147483647 h 232"/>
                <a:gd name="T16" fmla="*/ 2147483647 w 328"/>
                <a:gd name="T17" fmla="*/ 2147483647 h 232"/>
                <a:gd name="T18" fmla="*/ 2147483647 w 328"/>
                <a:gd name="T19" fmla="*/ 2147483647 h 232"/>
                <a:gd name="T20" fmla="*/ 2147483647 w 328"/>
                <a:gd name="T21" fmla="*/ 2147483647 h 232"/>
                <a:gd name="T22" fmla="*/ 2147483647 w 328"/>
                <a:gd name="T23" fmla="*/ 2147483647 h 232"/>
                <a:gd name="T24" fmla="*/ 2147483647 w 328"/>
                <a:gd name="T25" fmla="*/ 2147483647 h 232"/>
                <a:gd name="T26" fmla="*/ 2147483647 w 328"/>
                <a:gd name="T27" fmla="*/ 0 h 232"/>
                <a:gd name="T28" fmla="*/ 2147483647 w 328"/>
                <a:gd name="T29" fmla="*/ 2147483647 h 232"/>
                <a:gd name="T30" fmla="*/ 0 w 328"/>
                <a:gd name="T31" fmla="*/ 2147483647 h 232"/>
                <a:gd name="T32" fmla="*/ 2147483647 w 328"/>
                <a:gd name="T33" fmla="*/ 2147483647 h 232"/>
                <a:gd name="T34" fmla="*/ 2147483647 w 328"/>
                <a:gd name="T35" fmla="*/ 2147483647 h 232"/>
                <a:gd name="T36" fmla="*/ 2147483647 w 328"/>
                <a:gd name="T37" fmla="*/ 2147483647 h 232"/>
                <a:gd name="T38" fmla="*/ 2147483647 w 328"/>
                <a:gd name="T39" fmla="*/ 2147483647 h 232"/>
                <a:gd name="T40" fmla="*/ 2147483647 w 328"/>
                <a:gd name="T41" fmla="*/ 2147483647 h 232"/>
                <a:gd name="T42" fmla="*/ 2147483647 w 328"/>
                <a:gd name="T43" fmla="*/ 2147483647 h 232"/>
                <a:gd name="T44" fmla="*/ 2147483647 w 328"/>
                <a:gd name="T45" fmla="*/ 2147483647 h 232"/>
                <a:gd name="T46" fmla="*/ 2147483647 w 328"/>
                <a:gd name="T47" fmla="*/ 2147483647 h 232"/>
                <a:gd name="T48" fmla="*/ 2147483647 w 328"/>
                <a:gd name="T49" fmla="*/ 2147483647 h 232"/>
                <a:gd name="T50" fmla="*/ 2147483647 w 328"/>
                <a:gd name="T51" fmla="*/ 2147483647 h 232"/>
                <a:gd name="T52" fmla="*/ 2147483647 w 328"/>
                <a:gd name="T53" fmla="*/ 2147483647 h 232"/>
                <a:gd name="T54" fmla="*/ 2147483647 w 328"/>
                <a:gd name="T55" fmla="*/ 2147483647 h 232"/>
                <a:gd name="T56" fmla="*/ 2147483647 w 328"/>
                <a:gd name="T57" fmla="*/ 2147483647 h 23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28"/>
                <a:gd name="T88" fmla="*/ 0 h 232"/>
                <a:gd name="T89" fmla="*/ 328 w 328"/>
                <a:gd name="T90" fmla="*/ 232 h 23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28" h="232">
                  <a:moveTo>
                    <a:pt x="278" y="184"/>
                  </a:moveTo>
                  <a:lnTo>
                    <a:pt x="286" y="168"/>
                  </a:lnTo>
                  <a:lnTo>
                    <a:pt x="311" y="160"/>
                  </a:lnTo>
                  <a:lnTo>
                    <a:pt x="328" y="144"/>
                  </a:lnTo>
                  <a:lnTo>
                    <a:pt x="328" y="112"/>
                  </a:lnTo>
                  <a:lnTo>
                    <a:pt x="303" y="88"/>
                  </a:lnTo>
                  <a:lnTo>
                    <a:pt x="269" y="72"/>
                  </a:lnTo>
                  <a:lnTo>
                    <a:pt x="278" y="48"/>
                  </a:lnTo>
                  <a:lnTo>
                    <a:pt x="261" y="24"/>
                  </a:lnTo>
                  <a:lnTo>
                    <a:pt x="219" y="16"/>
                  </a:lnTo>
                  <a:lnTo>
                    <a:pt x="168" y="8"/>
                  </a:lnTo>
                  <a:lnTo>
                    <a:pt x="134" y="24"/>
                  </a:lnTo>
                  <a:lnTo>
                    <a:pt x="101" y="16"/>
                  </a:lnTo>
                  <a:lnTo>
                    <a:pt x="75" y="0"/>
                  </a:lnTo>
                  <a:lnTo>
                    <a:pt x="42" y="16"/>
                  </a:lnTo>
                  <a:lnTo>
                    <a:pt x="0" y="24"/>
                  </a:lnTo>
                  <a:lnTo>
                    <a:pt x="16" y="40"/>
                  </a:lnTo>
                  <a:lnTo>
                    <a:pt x="42" y="72"/>
                  </a:lnTo>
                  <a:lnTo>
                    <a:pt x="67" y="96"/>
                  </a:lnTo>
                  <a:lnTo>
                    <a:pt x="101" y="112"/>
                  </a:lnTo>
                  <a:lnTo>
                    <a:pt x="101" y="120"/>
                  </a:lnTo>
                  <a:lnTo>
                    <a:pt x="143" y="136"/>
                  </a:lnTo>
                  <a:lnTo>
                    <a:pt x="143" y="168"/>
                  </a:lnTo>
                  <a:lnTo>
                    <a:pt x="185" y="160"/>
                  </a:lnTo>
                  <a:lnTo>
                    <a:pt x="202" y="192"/>
                  </a:lnTo>
                  <a:lnTo>
                    <a:pt x="261" y="232"/>
                  </a:lnTo>
                  <a:lnTo>
                    <a:pt x="278" y="232"/>
                  </a:lnTo>
                  <a:lnTo>
                    <a:pt x="278" y="208"/>
                  </a:lnTo>
                  <a:lnTo>
                    <a:pt x="278" y="184"/>
                  </a:lnTo>
                  <a:close/>
                </a:path>
              </a:pathLst>
            </a:custGeom>
            <a:solidFill>
              <a:srgbClr val="FFD97D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lIns="71699" tIns="35849" rIns="71699" bIns="35849"/>
            <a:lstStyle/>
            <a:p>
              <a:pPr eaLnBrk="0" hangingPunct="0"/>
              <a:endParaRPr lang="en-US" sz="1800" kern="0" baseline="-25000">
                <a:solidFill>
                  <a:prstClr val="black"/>
                </a:solidFill>
              </a:endParaRPr>
            </a:p>
          </p:txBody>
        </p:sp>
        <p:pic>
          <p:nvPicPr>
            <p:cNvPr id="96" name="Grafik 9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27181" y="4546334"/>
              <a:ext cx="410509" cy="524605"/>
            </a:xfrm>
            <a:prstGeom prst="rect">
              <a:avLst/>
            </a:prstGeom>
          </p:spPr>
        </p:pic>
        <p:pic>
          <p:nvPicPr>
            <p:cNvPr id="97" name="Grafik 9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11269" y="4030038"/>
              <a:ext cx="408783" cy="523900"/>
            </a:xfrm>
            <a:prstGeom prst="rect">
              <a:avLst/>
            </a:prstGeom>
          </p:spPr>
        </p:pic>
        <p:pic>
          <p:nvPicPr>
            <p:cNvPr id="98" name="Grafik 9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11438" y="4690697"/>
              <a:ext cx="410509" cy="524605"/>
            </a:xfrm>
            <a:prstGeom prst="rect">
              <a:avLst/>
            </a:prstGeom>
          </p:spPr>
        </p:pic>
        <p:pic>
          <p:nvPicPr>
            <p:cNvPr id="99" name="Grafik 9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22527" y="4175539"/>
              <a:ext cx="408783" cy="523900"/>
            </a:xfrm>
            <a:prstGeom prst="rect">
              <a:avLst/>
            </a:prstGeom>
          </p:spPr>
        </p:pic>
        <p:pic>
          <p:nvPicPr>
            <p:cNvPr id="100" name="Grafik 9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21947" y="3279216"/>
              <a:ext cx="410253" cy="524605"/>
            </a:xfrm>
            <a:prstGeom prst="rect">
              <a:avLst/>
            </a:prstGeom>
          </p:spPr>
        </p:pic>
        <p:pic>
          <p:nvPicPr>
            <p:cNvPr id="101" name="Grafik 10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7459" y="3144342"/>
              <a:ext cx="410253" cy="524605"/>
            </a:xfrm>
            <a:prstGeom prst="rect">
              <a:avLst/>
            </a:prstGeom>
          </p:spPr>
        </p:pic>
        <p:pic>
          <p:nvPicPr>
            <p:cNvPr id="102" name="Grafik 10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895294" y="3637088"/>
              <a:ext cx="410509" cy="524605"/>
            </a:xfrm>
            <a:prstGeom prst="rect">
              <a:avLst/>
            </a:prstGeom>
          </p:spPr>
        </p:pic>
        <p:pic>
          <p:nvPicPr>
            <p:cNvPr id="103" name="Grafik 10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212570" y="3710715"/>
              <a:ext cx="408783" cy="523900"/>
            </a:xfrm>
            <a:prstGeom prst="rect">
              <a:avLst/>
            </a:prstGeom>
          </p:spPr>
        </p:pic>
        <p:pic>
          <p:nvPicPr>
            <p:cNvPr id="104" name="Grafik 10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69027" y="4579388"/>
              <a:ext cx="408783" cy="523900"/>
            </a:xfrm>
            <a:prstGeom prst="rect">
              <a:avLst/>
            </a:prstGeom>
          </p:spPr>
        </p:pic>
      </p:grp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0724" y="6518945"/>
            <a:ext cx="7897495" cy="109668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902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01702" y="920061"/>
            <a:ext cx="7883524" cy="785701"/>
          </a:xfrm>
        </p:spPr>
        <p:txBody>
          <a:bodyPr>
            <a:noAutofit/>
          </a:bodyPr>
          <a:lstStyle/>
          <a:p>
            <a:r>
              <a:rPr lang="de-DE" dirty="0" smtClean="0"/>
              <a:t>Differenzen der Kraftwerkskapazitäten in</a:t>
            </a:r>
            <a:r>
              <a:rPr lang="de-DE" dirty="0"/>
              <a:t> </a:t>
            </a:r>
            <a:r>
              <a:rPr lang="de-DE" dirty="0" smtClean="0"/>
              <a:t>D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49CA7C-03FA-4EF0-B142-CB7E722EA5AE}" type="slidenum">
              <a:rPr lang="de-DE" smtClean="0"/>
              <a:t>9</a:t>
            </a:fld>
            <a:endParaRPr lang="de-DE"/>
          </a:p>
        </p:txBody>
      </p:sp>
      <p:graphicFrame>
        <p:nvGraphicFramePr>
          <p:cNvPr id="11" name="Diagram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7038035"/>
              </p:ext>
            </p:extLst>
          </p:nvPr>
        </p:nvGraphicFramePr>
        <p:xfrm>
          <a:off x="900114" y="1773238"/>
          <a:ext cx="7885112" cy="478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20724" y="6484249"/>
            <a:ext cx="7727817" cy="153887"/>
          </a:xfrm>
        </p:spPr>
        <p:txBody>
          <a:bodyPr/>
          <a:lstStyle/>
          <a:p>
            <a:r>
              <a:rPr lang="de-DE" smtClean="0"/>
              <a:t>AKE Frühjahrssitzung | Volkswirtschaftliche Einordnung des Beitrags der Kohle zur Energietransformation | D.Lindenberger | Bad Honnef, 19.04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127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3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Lc7zbEjU2ViWEQPOmW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Lc7zbEjU2ViWEQPOmW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Lc7zbEjU2ViWEQPOmW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Ze_T5n0asdTRjBJcb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Lc7zbEjU2ViWEQPOmW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Vy5Y60W0E9xXgT7v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Ze_T5n0asdTRjBJcb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Ze_T5n0asdTRjBJcbZg"/>
</p:tagLst>
</file>

<file path=ppt/theme/theme1.xml><?xml version="1.0" encoding="utf-8"?>
<a:theme xmlns:a="http://schemas.openxmlformats.org/drawingml/2006/main" name="EWI_PPT2007">
  <a:themeElements>
    <a:clrScheme name="EWI_PPT2007_Colors">
      <a:dk1>
        <a:srgbClr val="FFFFFF"/>
      </a:dk1>
      <a:lt1>
        <a:srgbClr val="616767"/>
      </a:lt1>
      <a:dk2>
        <a:srgbClr val="FFFFFF"/>
      </a:dk2>
      <a:lt2>
        <a:srgbClr val="FFBF27"/>
      </a:lt2>
      <a:accent1>
        <a:srgbClr val="FFBF27"/>
      </a:accent1>
      <a:accent2>
        <a:srgbClr val="616767"/>
      </a:accent2>
      <a:accent3>
        <a:srgbClr val="FFD97D"/>
      </a:accent3>
      <a:accent4>
        <a:srgbClr val="A0A4A4"/>
      </a:accent4>
      <a:accent5>
        <a:srgbClr val="FFECBE"/>
      </a:accent5>
      <a:accent6>
        <a:srgbClr val="D0D2D2"/>
      </a:accent6>
      <a:hlink>
        <a:srgbClr val="FFBF27"/>
      </a:hlink>
      <a:folHlink>
        <a:srgbClr val="616767"/>
      </a:folHlink>
    </a:clrScheme>
    <a:fontScheme name="EWI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sz="18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3</Words>
  <Application>Microsoft Office PowerPoint</Application>
  <DocSecurity>0</DocSecurity>
  <PresentationFormat>Bildschirmpräsentation (4:3)</PresentationFormat>
  <Paragraphs>100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DINOT</vt:lpstr>
      <vt:lpstr>Wingdings</vt:lpstr>
      <vt:lpstr>EWI_PPT2007</vt:lpstr>
      <vt:lpstr>think-cell Slide</vt:lpstr>
      <vt:lpstr>Volkswirtschaftliche Einordnung des Beitrags  der Kohle zur Energietransformation</vt:lpstr>
      <vt:lpstr>Agenda  </vt:lpstr>
      <vt:lpstr>Ausgewogene Berücksichtigung der energiepolitischen Ziele  </vt:lpstr>
      <vt:lpstr>Energie und Versorgungssicherheit sind für industriellen Wohlstand von essentieller Bedeutung </vt:lpstr>
      <vt:lpstr>Nationale Eingriffe in den europäischen Strommarkt u. EU-ETS führen lediglich zur Verlagerung von Erzeugung u. Emissionen</vt:lpstr>
      <vt:lpstr>Verminderte Stromerzeugung in Deutschland wird durch erhöhtes Importsaldo kompensiert </vt:lpstr>
      <vt:lpstr>Im benachbarten Ausland wird umgekehrt mehr Strom erzeugt (zulasten der ausl. Importsaldi)</vt:lpstr>
      <vt:lpstr>Effekte der nationalen CO2-Vermeidung im  EU Strommarkt und EU-ETS Differenzen der Bruttostromerzeugung (2030)</vt:lpstr>
      <vt:lpstr>Differenzen der Kraftwerkskapazitäten in DE</vt:lpstr>
      <vt:lpstr>Differenzen der Kraftwerkskapazitäten  in europäischen Nachbarländern</vt:lpstr>
      <vt:lpstr>CO2-Emissionen in Deutschland und Europa</vt:lpstr>
      <vt:lpstr>Zusammenfassung</vt:lpstr>
      <vt:lpstr>PowerPoint-Prä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nos AG</dc:title>
  <dc:subject/>
  <dc:creator/>
  <cp:keywords/>
  <dc:description/>
  <cp:lastModifiedBy/>
  <cp:revision>1</cp:revision>
  <cp:lastPrinted>1899-12-29T23:00:00Z</cp:lastPrinted>
  <dcterms:created xsi:type="dcterms:W3CDTF">2013-01-16T14:43:23Z</dcterms:created>
  <dcterms:modified xsi:type="dcterms:W3CDTF">2018-04-19T07:49:21Z</dcterms:modified>
  <cp:category/>
  <cp:contentStatus>29.01.2014</cp:contentStatus>
  <dc:language/>
  <cp:version/>
</cp:coreProperties>
</file>